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962" r:id="rId5"/>
    <p:sldMasterId id="2147483932" r:id="rId6"/>
  </p:sldMasterIdLst>
  <p:notesMasterIdLst>
    <p:notesMasterId r:id="rId56"/>
  </p:notesMasterIdLst>
  <p:handoutMasterIdLst>
    <p:handoutMasterId r:id="rId57"/>
  </p:handoutMasterIdLst>
  <p:sldIdLst>
    <p:sldId id="1102" r:id="rId7"/>
    <p:sldId id="349" r:id="rId8"/>
    <p:sldId id="1103" r:id="rId9"/>
    <p:sldId id="4246" r:id="rId10"/>
    <p:sldId id="1053" r:id="rId11"/>
    <p:sldId id="4231" r:id="rId12"/>
    <p:sldId id="2877" r:id="rId13"/>
    <p:sldId id="4232" r:id="rId14"/>
    <p:sldId id="4195" r:id="rId15"/>
    <p:sldId id="4196" r:id="rId16"/>
    <p:sldId id="4233" r:id="rId17"/>
    <p:sldId id="4197" r:id="rId18"/>
    <p:sldId id="4229" r:id="rId19"/>
    <p:sldId id="4230" r:id="rId20"/>
    <p:sldId id="4234" r:id="rId21"/>
    <p:sldId id="4236" r:id="rId22"/>
    <p:sldId id="4199" r:id="rId23"/>
    <p:sldId id="4200" r:id="rId24"/>
    <p:sldId id="4201" r:id="rId25"/>
    <p:sldId id="4198" r:id="rId26"/>
    <p:sldId id="4235" r:id="rId27"/>
    <p:sldId id="4202" r:id="rId28"/>
    <p:sldId id="4237" r:id="rId29"/>
    <p:sldId id="4238" r:id="rId30"/>
    <p:sldId id="4239" r:id="rId31"/>
    <p:sldId id="4203" r:id="rId32"/>
    <p:sldId id="4204" r:id="rId33"/>
    <p:sldId id="4205" r:id="rId34"/>
    <p:sldId id="4206" r:id="rId35"/>
    <p:sldId id="4207" r:id="rId36"/>
    <p:sldId id="4208" r:id="rId37"/>
    <p:sldId id="4209" r:id="rId38"/>
    <p:sldId id="4240" r:id="rId39"/>
    <p:sldId id="4210" r:id="rId40"/>
    <p:sldId id="4211" r:id="rId41"/>
    <p:sldId id="4212" r:id="rId42"/>
    <p:sldId id="4213" r:id="rId43"/>
    <p:sldId id="4241" r:id="rId44"/>
    <p:sldId id="4220" r:id="rId45"/>
    <p:sldId id="4242" r:id="rId46"/>
    <p:sldId id="4215" r:id="rId47"/>
    <p:sldId id="4244" r:id="rId48"/>
    <p:sldId id="4217" r:id="rId49"/>
    <p:sldId id="4243" r:id="rId50"/>
    <p:sldId id="4216" r:id="rId51"/>
    <p:sldId id="4176" r:id="rId52"/>
    <p:sldId id="4219" r:id="rId53"/>
    <p:sldId id="4218" r:id="rId54"/>
    <p:sldId id="4245" r:id="rId5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E32C21-E2C1-465C-9E72-F8E0DA9FACB3}">
          <p14:sldIdLst>
            <p14:sldId id="1102"/>
            <p14:sldId id="349"/>
            <p14:sldId id="1103"/>
            <p14:sldId id="4246"/>
            <p14:sldId id="1053"/>
            <p14:sldId id="4231"/>
            <p14:sldId id="2877"/>
            <p14:sldId id="4232"/>
            <p14:sldId id="4195"/>
            <p14:sldId id="4196"/>
            <p14:sldId id="4233"/>
            <p14:sldId id="4197"/>
            <p14:sldId id="4229"/>
            <p14:sldId id="4230"/>
            <p14:sldId id="4234"/>
            <p14:sldId id="4236"/>
            <p14:sldId id="4199"/>
            <p14:sldId id="4200"/>
            <p14:sldId id="4201"/>
            <p14:sldId id="4198"/>
            <p14:sldId id="4235"/>
            <p14:sldId id="4202"/>
            <p14:sldId id="4237"/>
            <p14:sldId id="4238"/>
            <p14:sldId id="4239"/>
            <p14:sldId id="4203"/>
            <p14:sldId id="4204"/>
            <p14:sldId id="4205"/>
            <p14:sldId id="4206"/>
            <p14:sldId id="4207"/>
            <p14:sldId id="4208"/>
            <p14:sldId id="4209"/>
            <p14:sldId id="4240"/>
            <p14:sldId id="4210"/>
            <p14:sldId id="4211"/>
            <p14:sldId id="4212"/>
            <p14:sldId id="4213"/>
            <p14:sldId id="4241"/>
            <p14:sldId id="4220"/>
            <p14:sldId id="4242"/>
            <p14:sldId id="4215"/>
            <p14:sldId id="4244"/>
            <p14:sldId id="4217"/>
            <p14:sldId id="4243"/>
            <p14:sldId id="4216"/>
            <p14:sldId id="4176"/>
            <p14:sldId id="4219"/>
            <p14:sldId id="4218"/>
            <p14:sldId id="424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69B2C8-A180-15D3-105F-74C8ED9F7DD1}" name="Kat Varga" initials="KV" userId="S::katvarga@cvpcorp.com::27b39ef9-9f2c-4219-ab68-87563686830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oster, Angela" initials="FA" lastIdx="1" clrIdx="0">
    <p:extLst>
      <p:ext uri="{19B8F6BF-5375-455C-9EA6-DF929625EA0E}">
        <p15:presenceInfo xmlns:p15="http://schemas.microsoft.com/office/powerpoint/2012/main" userId="S::Angela.Foster@va.gov::29524050-54a8-4308-8bd1-10d67264d5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4261"/>
    <a:srgbClr val="8BB8E1"/>
    <a:srgbClr val="002F56"/>
    <a:srgbClr val="003E72"/>
    <a:srgbClr val="0070C0"/>
    <a:srgbClr val="F247FF"/>
    <a:srgbClr val="FFC000"/>
    <a:srgbClr val="AACA96"/>
    <a:srgbClr val="AEB0B6"/>
    <a:srgbClr val="B0D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F4906A-C5FC-4D6E-83F6-FCBB0ABDC93C}" v="5" dt="2022-05-23T14:11:12.5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8"/>
  </p:normalViewPr>
  <p:slideViewPr>
    <p:cSldViewPr snapToGrid="0">
      <p:cViewPr varScale="1">
        <p:scale>
          <a:sx n="69" d="100"/>
          <a:sy n="69" d="100"/>
        </p:scale>
        <p:origin x="93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notesMaster" Target="notesMasters/notesMaster1.xml"/><Relationship Id="rId64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D0AEDE0-782A-2A47-B9DC-ECEF64A824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C8A7FA-BE55-E548-BFB6-CE24D24A78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0C64CB-F274-C241-B622-F373B895B19A}" type="datetimeFigureOut">
              <a:rPr lang="en-US" smtClean="0"/>
              <a:t>9/2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07E3BB-FE9E-8C42-A9AF-0F242FEC10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06A978-349F-D14C-A016-D2F409AC23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0C6A3-30D1-6C4D-9DE4-190C4ED975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498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65E06E-1E0C-6B47-BC3A-DE5BA92E9EF0}" type="datetimeFigureOut">
              <a:rPr lang="en-US" smtClean="0"/>
              <a:t>9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A3390-9212-B34C-85F4-E1FD24A52B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3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6819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388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4578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857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4387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2054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9683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98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2023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5719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530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3567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720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2832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816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915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7193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6917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4231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28410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5935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137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6819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62455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86422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7895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1804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949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01109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11740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2816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751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744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84615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88021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0709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051991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5699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BD5272-C193-4530-9143-3296DB766382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0317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335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156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BD5272-C193-4530-9143-3296DB7663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2327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561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A3390-9212-B34C-85F4-E1FD24A52B6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070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720" y="1408662"/>
            <a:ext cx="1850690" cy="1845013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4EA5574D-B6EB-E740-8A91-12831F4C7E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01BF60-2DBF-1E47-9C6F-A3D6EDF8A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DF474DC-59F3-1341-B2A0-63B5F03ED8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4649" y="1887450"/>
            <a:ext cx="9097758" cy="87560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4649" y="2820512"/>
            <a:ext cx="8382000" cy="433163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70258" y="3364874"/>
            <a:ext cx="8382000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77BA728-AC6C-684D-BB5C-2B6A95902E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6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6">
    <p:bg>
      <p:bgPr>
        <a:solidFill>
          <a:srgbClr val="B0D3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8323BE-9E26-47CD-AF69-527649A5D2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6840" y="236895"/>
            <a:ext cx="4792717" cy="5559564"/>
          </a:xfrm>
          <a:custGeom>
            <a:avLst/>
            <a:gdLst>
              <a:gd name="connsiteX0" fmla="*/ 2484410 w 4968822"/>
              <a:gd name="connsiteY0" fmla="*/ 0 h 5763845"/>
              <a:gd name="connsiteX1" fmla="*/ 4968822 w 4968822"/>
              <a:gd name="connsiteY1" fmla="*/ 1242206 h 5763845"/>
              <a:gd name="connsiteX2" fmla="*/ 4968822 w 4968822"/>
              <a:gd name="connsiteY2" fmla="*/ 4521639 h 5763845"/>
              <a:gd name="connsiteX3" fmla="*/ 2484410 w 4968822"/>
              <a:gd name="connsiteY3" fmla="*/ 5763845 h 5763845"/>
              <a:gd name="connsiteX4" fmla="*/ 0 w 4968822"/>
              <a:gd name="connsiteY4" fmla="*/ 4521639 h 5763845"/>
              <a:gd name="connsiteX5" fmla="*/ 0 w 4968822"/>
              <a:gd name="connsiteY5" fmla="*/ 1242206 h 5763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8822" h="5763845">
                <a:moveTo>
                  <a:pt x="2484410" y="0"/>
                </a:moveTo>
                <a:lnTo>
                  <a:pt x="4968822" y="1242206"/>
                </a:lnTo>
                <a:lnTo>
                  <a:pt x="4968822" y="4521639"/>
                </a:lnTo>
                <a:lnTo>
                  <a:pt x="2484410" y="5763845"/>
                </a:lnTo>
                <a:lnTo>
                  <a:pt x="0" y="4521639"/>
                </a:lnTo>
                <a:lnTo>
                  <a:pt x="0" y="1242206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>
                <a:solidFill>
                  <a:srgbClr val="000000"/>
                </a:solidFill>
                <a:latin typeface="Roboto" panose="020000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97407D2-1EA1-894D-91F4-58963C3418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7572" y="1954213"/>
            <a:ext cx="6479628" cy="3673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  <a:lvl2pPr>
              <a:defRPr>
                <a:solidFill>
                  <a:srgbClr val="003E72"/>
                </a:solidFill>
              </a:defRPr>
            </a:lvl2pPr>
            <a:lvl3pPr>
              <a:defRPr>
                <a:solidFill>
                  <a:srgbClr val="003E72"/>
                </a:solidFill>
              </a:defRPr>
            </a:lvl3pPr>
            <a:lvl4pPr>
              <a:defRPr>
                <a:solidFill>
                  <a:srgbClr val="003E72"/>
                </a:solidFill>
              </a:defRPr>
            </a:lvl4pPr>
            <a:lvl5pPr>
              <a:defRPr>
                <a:solidFill>
                  <a:srgbClr val="003E7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AAEE0D94-5597-4F06-8B94-7037B7B5F0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4099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bg>
      <p:bgPr>
        <a:gradFill>
          <a:gsLst>
            <a:gs pos="0">
              <a:schemeClr val="bg1"/>
            </a:gs>
            <a:gs pos="9000">
              <a:schemeClr val="bg1">
                <a:lumMod val="95000"/>
              </a:schemeClr>
            </a:gs>
            <a:gs pos="50000">
              <a:schemeClr val="accent1">
                <a:lumMod val="45000"/>
                <a:lumOff val="55000"/>
              </a:schemeClr>
            </a:gs>
            <a:gs pos="100000">
              <a:srgbClr val="003E7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96A341C-89DC-5F46-9911-7EB8FD7F05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10179F9-0715-734C-99AD-940B6EF573B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1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F1D72AC-B8F7-464A-8DDC-CFD0A0AF9BC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15165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7B6D4F6-8B3D-4A4B-95DB-B534135A81A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92129" y="1799999"/>
            <a:ext cx="3161670" cy="3499302"/>
          </a:xfrm>
          <a:prstGeom prst="rect">
            <a:avLst/>
          </a:prstGeo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</p:spTree>
    <p:extLst>
      <p:ext uri="{BB962C8B-B14F-4D97-AF65-F5344CB8AC3E}">
        <p14:creationId xmlns:p14="http://schemas.microsoft.com/office/powerpoint/2010/main" val="11257413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9871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FFDE2-6902-7934-8221-49497DF39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CF0B6D-DC21-6DE0-1CBB-AE01FD0ACD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479509-9275-4735-352C-B7BE1EACBC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47B706-5948-6248-B5A8-2CC906FD9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52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hoto Layout"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F18A60AC-D3F3-D24B-A172-52CFAE0E1A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56CBECB-F5B7-8A41-92AE-ECDF0C8825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328F3A10-74EB-8140-B1C8-BC0BFB03775C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576975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D956D3E6-4960-D34F-AE75-227EC434ECBF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4465820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77A81EA-B9F9-6F49-AC46-6C7F9ED9A41E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8354665" y="1881280"/>
            <a:ext cx="3227735" cy="30093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12B1E8F-ACEB-9F41-94E8-EF89588815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6975" y="5050728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FF7D5364-A98E-324B-9640-119711DAB2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65820" y="5050728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88199739-712B-5F46-9CB6-5E91993A68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4664" y="5067352"/>
            <a:ext cx="3227735" cy="774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Name &amp; Title</a:t>
            </a:r>
          </a:p>
        </p:txBody>
      </p:sp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1AF3DDBD-7805-8049-9EB3-C88D4D6ECB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092" y="5807370"/>
            <a:ext cx="1599784" cy="127572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4E842729-BF0B-E849-B126-924832507D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6607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, Two Subhead"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DAFEDC8-B2AA-5548-AEB5-CF8F71E10219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876451" y="1678906"/>
            <a:ext cx="4011391" cy="374003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BDB8C3-DD75-FA40-8422-6A1EF64343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988CD6E-51F9-EB4F-AFCC-453F7A9E5FE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6937" y="1663923"/>
            <a:ext cx="2788997" cy="4211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A897506-57E8-6A4E-8941-937752535483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85348" y="2168246"/>
            <a:ext cx="2789419" cy="325069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8328745-A902-D746-BA15-6A29117B0B2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273862" y="1663923"/>
            <a:ext cx="2788997" cy="4211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D98BE3D-4285-6842-9B83-D5D197550E78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272273" y="2168246"/>
            <a:ext cx="2789419" cy="325069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14BEC88C-2F09-384A-863F-9886F90485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A5DE173-5CB3-804F-81FA-101080272F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78A4FEF8-97ED-FC4E-97C0-49461AA4F24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842" y="5802073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2117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3E7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FDEF38D-2163-434C-8A18-2294507C7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903751"/>
            <a:ext cx="10515600" cy="3252865"/>
          </a:xfrm>
          <a:prstGeom prst="rect">
            <a:avLst/>
          </a:prstGeom>
        </p:spPr>
        <p:txBody>
          <a:bodyPr/>
          <a:lstStyle>
            <a:lvl1pPr algn="l">
              <a:defRPr sz="5000" i="1">
                <a:solidFill>
                  <a:srgbClr val="002F56"/>
                </a:solidFill>
              </a:defRPr>
            </a:lvl1pPr>
          </a:lstStyle>
          <a:p>
            <a:r>
              <a:rPr lang="en-US"/>
              <a:t>Lorem Ipsum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,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vel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egetq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pretium</a:t>
            </a:r>
            <a:r>
              <a:rPr lang="en-US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2E7323-F360-A944-A23F-8BB1C2872039}"/>
              </a:ext>
            </a:extLst>
          </p:cNvPr>
          <p:cNvSpPr txBox="1"/>
          <p:nvPr userDrawn="1"/>
        </p:nvSpPr>
        <p:spPr>
          <a:xfrm>
            <a:off x="835986" y="360084"/>
            <a:ext cx="1545236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0" b="1" i="0">
                <a:solidFill>
                  <a:srgbClr val="003E72"/>
                </a:solidFill>
              </a:rPr>
              <a:t>“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EEAF3F8E-9328-744E-8628-D661FED5EF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07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D93F441-8708-4C57-BEDD-F16299BFD6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9897" y="1609820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1FC8916-CB8D-4F38-992F-8D87C4D9F56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67765" y="1609819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3181C31-464D-4C1B-ADB2-8D3E6AE9D6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95633" y="1609819"/>
            <a:ext cx="3056468" cy="3056468"/>
          </a:xfrm>
          <a:prstGeom prst="ellipse">
            <a:avLst/>
          </a:pr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E5F0E2A-8186-5E42-A58F-014EC1A9C2F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36133" y="4803844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9267EE-DF95-4F41-9970-DED2AE73302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15675" y="4803844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C5E8EA-96B5-ED40-A322-AAE2CED1813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295217" y="4835081"/>
            <a:ext cx="2788997" cy="88867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rgbClr val="002F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89DB99-6AB8-364D-8E5F-07A10D3D2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0713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800B02D9-1626-F840-B779-F9B1050065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68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1F91D4F-A932-4FA6-A468-BF18A7F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4913" y="0"/>
            <a:ext cx="5907087" cy="6858000"/>
          </a:xfrm>
          <a:prstGeom prst="parallelogram">
            <a:avLst>
              <a:gd name="adj" fmla="val 36907"/>
            </a:avLst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ID"/>
              <a:t>Image Placeholder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AD26C11-437E-8849-AD78-852C2DBB3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311632"/>
            <a:ext cx="6479628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24C876-91BF-9E48-815B-4D70F72C99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2159165"/>
            <a:ext cx="6479628" cy="36734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  <a:lvl2pPr>
              <a:defRPr>
                <a:solidFill>
                  <a:srgbClr val="003E72"/>
                </a:solidFill>
              </a:defRPr>
            </a:lvl2pPr>
            <a:lvl3pPr>
              <a:defRPr>
                <a:solidFill>
                  <a:srgbClr val="003E72"/>
                </a:solidFill>
              </a:defRPr>
            </a:lvl3pPr>
            <a:lvl4pPr>
              <a:defRPr>
                <a:solidFill>
                  <a:srgbClr val="003E72"/>
                </a:solidFill>
              </a:defRPr>
            </a:lvl4pPr>
            <a:lvl5pPr>
              <a:defRPr>
                <a:solidFill>
                  <a:srgbClr val="003E7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E3A6B5E9-6E3C-A548-BB49-0AD830571E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15821" y="5842067"/>
            <a:ext cx="1476179" cy="1177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126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bg>
      <p:bgPr>
        <a:solidFill>
          <a:srgbClr val="003E72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rgbClr val="002F56"/>
                </a:solidFill>
              </a:defRPr>
            </a:lvl1pPr>
          </a:lstStyle>
          <a:p>
            <a:r>
              <a:rPr lang="en-US"/>
              <a:t>Divider Slide 1</a:t>
            </a: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E9C71DBD-D8D2-214C-B1E3-2AB8492B1B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64743" y="0"/>
            <a:ext cx="1545237" cy="123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0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9B2F2091-4844-1342-94E2-DC2F648FF5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106A736-79AC-A048-93FE-4C721D363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C911D7E5-8A3A-F64E-A06A-CAFF5987E8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65891" y="2644653"/>
            <a:ext cx="7189495" cy="82623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Secondary Title Slid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6078D3B-F6C7-4240-AC3C-B026F3CB3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0875" y="1299235"/>
            <a:ext cx="1288389" cy="128443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8CD825-6DAB-8F4B-95D3-27D3B3AE57E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5316" y="6254833"/>
            <a:ext cx="2014330" cy="39131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A000996-E3D9-5341-8AA8-E880295C63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609" y="6256905"/>
            <a:ext cx="2092994" cy="389246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A152C89E-3F7B-A649-BD19-DCA765D1A474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4465891" y="3529009"/>
            <a:ext cx="7189495" cy="43316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38A4B7F9-CB13-6D4D-883C-AE5DAB64D5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1500" y="4073371"/>
            <a:ext cx="7189495" cy="7747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154277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Vertical Text">
    <p:bg>
      <p:bgPr>
        <a:gradFill>
          <a:gsLst>
            <a:gs pos="0">
              <a:schemeClr val="bg1"/>
            </a:gs>
            <a:gs pos="9000">
              <a:schemeClr val="bg1">
                <a:lumMod val="95000"/>
              </a:schemeClr>
            </a:gs>
            <a:gs pos="50000">
              <a:schemeClr val="accent1">
                <a:lumMod val="45000"/>
                <a:lumOff val="55000"/>
              </a:schemeClr>
            </a:gs>
            <a:gs pos="100000">
              <a:srgbClr val="003E7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345E4A5-870A-4094-9B78-72A0BA1359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144109"/>
            <a:ext cx="3169227" cy="4713889"/>
          </a:xfrm>
          <a:custGeom>
            <a:avLst/>
            <a:gdLst>
              <a:gd name="connsiteX0" fmla="*/ 0 w 2828140"/>
              <a:gd name="connsiteY0" fmla="*/ 0 h 6873449"/>
              <a:gd name="connsiteX1" fmla="*/ 2828140 w 2828140"/>
              <a:gd name="connsiteY1" fmla="*/ 0 h 6873449"/>
              <a:gd name="connsiteX2" fmla="*/ 2828140 w 2828140"/>
              <a:gd name="connsiteY2" fmla="*/ 6873449 h 6873449"/>
              <a:gd name="connsiteX3" fmla="*/ 0 w 2828140"/>
              <a:gd name="connsiteY3" fmla="*/ 6873449 h 6873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8140" h="6873449">
                <a:moveTo>
                  <a:pt x="0" y="0"/>
                </a:moveTo>
                <a:lnTo>
                  <a:pt x="2828140" y="0"/>
                </a:lnTo>
                <a:lnTo>
                  <a:pt x="2828140" y="6873449"/>
                </a:lnTo>
                <a:lnTo>
                  <a:pt x="0" y="6873449"/>
                </a:lnTo>
                <a:close/>
              </a:path>
            </a:pathLst>
          </a:cu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78708F04-5D56-4F69-AE5E-26B651563A9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11544" y="3429000"/>
            <a:ext cx="3169228" cy="3428998"/>
          </a:xfrm>
          <a:custGeom>
            <a:avLst/>
            <a:gdLst>
              <a:gd name="connsiteX0" fmla="*/ 0 w 2828140"/>
              <a:gd name="connsiteY0" fmla="*/ 0 h 3298976"/>
              <a:gd name="connsiteX1" fmla="*/ 2828140 w 2828140"/>
              <a:gd name="connsiteY1" fmla="*/ 0 h 3298976"/>
              <a:gd name="connsiteX2" fmla="*/ 2828140 w 2828140"/>
              <a:gd name="connsiteY2" fmla="*/ 3298976 h 3298976"/>
              <a:gd name="connsiteX3" fmla="*/ 0 w 2828140"/>
              <a:gd name="connsiteY3" fmla="*/ 3298976 h 3298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8140" h="3298976">
                <a:moveTo>
                  <a:pt x="0" y="0"/>
                </a:moveTo>
                <a:lnTo>
                  <a:pt x="2828140" y="0"/>
                </a:lnTo>
                <a:lnTo>
                  <a:pt x="2828140" y="3298976"/>
                </a:lnTo>
                <a:lnTo>
                  <a:pt x="0" y="3298976"/>
                </a:lnTo>
                <a:close/>
              </a:path>
            </a:pathLst>
          </a:custGeom>
          <a:pattFill prst="pct25">
            <a:fgClr>
              <a:srgbClr val="0077FA"/>
            </a:fgClr>
            <a:bgClr>
              <a:schemeClr val="bg1"/>
            </a:bgClr>
          </a:pattFill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7EB049-CF37-F349-9C3F-A422F4D00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B74B32E-CE08-FB4D-98C6-092C364EE4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3089" y="1927654"/>
            <a:ext cx="4231625" cy="456522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>
                <a:solidFill>
                  <a:srgbClr val="003E72"/>
                </a:solidFill>
              </a:defRPr>
            </a:lvl2pPr>
            <a:lvl3pPr>
              <a:lnSpc>
                <a:spcPct val="110000"/>
              </a:lnSpc>
              <a:defRPr>
                <a:solidFill>
                  <a:srgbClr val="003E72"/>
                </a:solidFill>
              </a:defRPr>
            </a:lvl3pPr>
            <a:lvl4pPr>
              <a:lnSpc>
                <a:spcPct val="110000"/>
              </a:lnSpc>
              <a:defRPr>
                <a:solidFill>
                  <a:srgbClr val="003E72"/>
                </a:solidFill>
              </a:defRPr>
            </a:lvl4pPr>
            <a:lvl5pPr>
              <a:lnSpc>
                <a:spcPct val="110000"/>
              </a:lnSpc>
              <a:defRPr>
                <a:solidFill>
                  <a:srgbClr val="003E7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2152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8667"/>
            <a:ext cx="10515600" cy="424799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4046ADFF-DF08-E348-A78E-E69C296627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98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95C181A-A9BA-764D-9C94-AB35096B24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903" b="4214"/>
          <a:stretch/>
        </p:blipFill>
        <p:spPr>
          <a:xfrm>
            <a:off x="0" y="1431561"/>
            <a:ext cx="12192000" cy="428976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89232B3-75B4-4844-BDA8-8CA59EC50269}"/>
              </a:ext>
            </a:extLst>
          </p:cNvPr>
          <p:cNvSpPr>
            <a:spLocks noGrp="1" noChangeAspect="1"/>
          </p:cNvSpPr>
          <p:nvPr>
            <p:ph type="pic" idx="14"/>
          </p:nvPr>
        </p:nvSpPr>
        <p:spPr>
          <a:xfrm>
            <a:off x="7342409" y="1686408"/>
            <a:ext cx="4011391" cy="3740031"/>
          </a:xfrm>
        </p:spPr>
        <p:txBody>
          <a:bodyPr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00C3B68-8455-D448-9503-AB8AC173F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2" y="1686408"/>
            <a:ext cx="6117234" cy="3740031"/>
          </a:xfrm>
        </p:spPr>
        <p:txBody>
          <a:bodyPr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54B5D15-7620-8943-B1D6-C4989A375A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DAA478E0-F909-784A-A63D-F82E05F8AB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037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153464" y="1799999"/>
            <a:ext cx="5119139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wo Column Text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71B2279C-BA82-B944-B459-7A5CC3B8E2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659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1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18FA6DC-767D-C246-9E72-AEBCA386F48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515165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41E6513-3F0C-8343-90AD-D2400055D19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92129" y="1799999"/>
            <a:ext cx="3161670" cy="3499302"/>
          </a:xfrm>
        </p:spPr>
        <p:txBody>
          <a:bodyPr numCol="1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 marL="1828800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en-US"/>
              <a:t>Three Column Text</a:t>
            </a: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05EED5E6-EBB3-7340-A33A-0010AA934C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584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55ED376-3B63-4BF5-8FE7-6E13F6B5E102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4FA9B3C-1FF1-914D-A59E-CA40875151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2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526B9AC0-3295-8643-92DB-CE1EAC070E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342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hart 1">
    <p:bg>
      <p:bgPr>
        <a:solidFill>
          <a:srgbClr val="FFF3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FBD5ED0-A7AC-1E4A-805A-1A86C021CA9E}"/>
              </a:ext>
            </a:extLst>
          </p:cNvPr>
          <p:cNvCxnSpPr/>
          <p:nvPr userDrawn="1"/>
        </p:nvCxnSpPr>
        <p:spPr>
          <a:xfrm>
            <a:off x="0" y="2301240"/>
            <a:ext cx="12192000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E87624B8-2A3F-4234-B65D-84C63F7AC2A9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Hexagon 3">
            <a:extLst>
              <a:ext uri="{FF2B5EF4-FFF2-40B4-BE49-F238E27FC236}">
                <a16:creationId xmlns:a16="http://schemas.microsoft.com/office/drawing/2014/main" id="{C62E5F35-D24D-1548-AC40-C09D150F2D40}"/>
              </a:ext>
            </a:extLst>
          </p:cNvPr>
          <p:cNvSpPr>
            <a:spLocks/>
          </p:cNvSpPr>
          <p:nvPr userDrawn="1"/>
        </p:nvSpPr>
        <p:spPr>
          <a:xfrm>
            <a:off x="1113017" y="1691638"/>
            <a:ext cx="1375261" cy="1188720"/>
          </a:xfrm>
          <a:prstGeom prst="hexagon">
            <a:avLst/>
          </a:prstGeom>
          <a:solidFill>
            <a:srgbClr val="003E7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5F4EDF85-509D-EF49-87BA-059B1A183414}"/>
              </a:ext>
            </a:extLst>
          </p:cNvPr>
          <p:cNvSpPr>
            <a:spLocks/>
          </p:cNvSpPr>
          <p:nvPr userDrawn="1"/>
        </p:nvSpPr>
        <p:spPr>
          <a:xfrm>
            <a:off x="3286725" y="1691638"/>
            <a:ext cx="1375261" cy="1188720"/>
          </a:xfrm>
          <a:prstGeom prst="hexagon">
            <a:avLst/>
          </a:prstGeom>
          <a:solidFill>
            <a:srgbClr val="0070C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CCAE2731-5447-104D-A243-3FA237F3239D}"/>
              </a:ext>
            </a:extLst>
          </p:cNvPr>
          <p:cNvSpPr>
            <a:spLocks/>
          </p:cNvSpPr>
          <p:nvPr userDrawn="1"/>
        </p:nvSpPr>
        <p:spPr>
          <a:xfrm>
            <a:off x="7634141" y="1691636"/>
            <a:ext cx="1375261" cy="1188720"/>
          </a:xfrm>
          <a:prstGeom prst="hexagon">
            <a:avLst/>
          </a:prstGeom>
          <a:solidFill>
            <a:srgbClr val="B0D3E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E197F718-EB2E-2B46-88FD-4CF0004C359C}"/>
              </a:ext>
            </a:extLst>
          </p:cNvPr>
          <p:cNvSpPr>
            <a:spLocks/>
          </p:cNvSpPr>
          <p:nvPr userDrawn="1"/>
        </p:nvSpPr>
        <p:spPr>
          <a:xfrm>
            <a:off x="9807850" y="1691635"/>
            <a:ext cx="1375261" cy="1188720"/>
          </a:xfrm>
          <a:prstGeom prst="hexagon">
            <a:avLst/>
          </a:prstGeom>
          <a:solidFill>
            <a:srgbClr val="66666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08825400-135B-1D4A-9A53-CD11C5C5B8F9}"/>
              </a:ext>
            </a:extLst>
          </p:cNvPr>
          <p:cNvSpPr>
            <a:spLocks/>
          </p:cNvSpPr>
          <p:nvPr userDrawn="1"/>
        </p:nvSpPr>
        <p:spPr>
          <a:xfrm>
            <a:off x="5460433" y="1691637"/>
            <a:ext cx="1375261" cy="1188720"/>
          </a:xfrm>
          <a:prstGeom prst="hexagon">
            <a:avLst/>
          </a:prstGeom>
          <a:solidFill>
            <a:srgbClr val="6DABD6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6481BA6-A1B1-9442-AE32-0598A33AA38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86315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D45BF9D4-0066-2543-B201-7496D2F88B0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84727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B671FC8-0E69-8A44-995B-F85D7A0B93FF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2971833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AE173DC9-2DA6-9B44-9A18-093E325C7DD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2970245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834E881-EFBA-7A4A-B3B2-CD87BEDD5C2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31251" y="3133060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5AEB8A8F-6E37-8A4F-A35F-0606DDA701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129663" y="3637384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3F887E5-53F4-4B45-8A7F-1287C355517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7316769" y="3149468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B30963FA-92AE-2547-B3E1-077EF0796C2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315181" y="3653792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423E667-7B78-264B-B728-BF11CCDEDE5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538010" y="3150061"/>
            <a:ext cx="1867675" cy="42119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 b="1">
                <a:solidFill>
                  <a:srgbClr val="003E7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F4810DE5-5EF9-5643-BDF2-F3510AA92A6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536422" y="3654385"/>
            <a:ext cx="1867958" cy="1927800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rgbClr val="003E72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</a:t>
            </a:r>
          </a:p>
          <a:p>
            <a:pPr lvl="0"/>
            <a:endParaRPr lang="en-US"/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4C7C329-D5D5-5A4B-BF6D-98F84A28F5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rgbClr val="003E7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E313958D-CD1E-6D4B-BEC8-227BD80ED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994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23C36F-F942-431A-AE32-315502B0000D}"/>
              </a:ext>
            </a:extLst>
          </p:cNvPr>
          <p:cNvSpPr/>
          <p:nvPr userDrawn="1"/>
        </p:nvSpPr>
        <p:spPr>
          <a:xfrm>
            <a:off x="4130566" y="6274676"/>
            <a:ext cx="3728544" cy="46445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47E9A00-2A21-5844-8CE2-64885373E5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1" y="2039304"/>
            <a:ext cx="10743200" cy="243252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845FB539-F55A-D348-9782-B64688EEB4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929" y="5768959"/>
            <a:ext cx="1599784" cy="127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191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3E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D078E2-9CB4-46A0-895E-ACAA5168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5120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D078E2-9CB4-46A0-895E-ACAA5168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D75F2B-26F1-4B72-B4D6-4920F47D18C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95770"/>
            <a:ext cx="10515600" cy="4627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82AFD7-9EFA-6C4F-B6A5-7614434EE618}"/>
              </a:ext>
            </a:extLst>
          </p:cNvPr>
          <p:cNvSpPr/>
          <p:nvPr userDrawn="1"/>
        </p:nvSpPr>
        <p:spPr>
          <a:xfrm>
            <a:off x="0" y="5909238"/>
            <a:ext cx="12192000" cy="948762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0702F4D-6426-7044-909B-49A607610E7A}"/>
              </a:ext>
            </a:extLst>
          </p:cNvPr>
          <p:cNvSpPr txBox="1">
            <a:spLocks/>
          </p:cNvSpPr>
          <p:nvPr userDrawn="1"/>
        </p:nvSpPr>
        <p:spPr>
          <a:xfrm>
            <a:off x="11363723" y="6224260"/>
            <a:ext cx="5120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rgbClr val="002F5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0A9334-4E67-F94F-A05E-0CE8B74A054E}" type="slidenum">
              <a:rPr lang="en-US" sz="1400" smtClean="0">
                <a:solidFill>
                  <a:schemeClr val="bg1"/>
                </a:solidFill>
              </a:rPr>
              <a:pPr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941147B-FE17-AB42-9B70-841071650A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0583" y="6104140"/>
            <a:ext cx="2014330" cy="54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8720615-61FF-6E41-A7ED-80FB5D7C4C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5055" y="5983730"/>
            <a:ext cx="1942545" cy="783000"/>
          </a:xfrm>
          <a:prstGeom prst="rect">
            <a:avLst/>
          </a:prstGeom>
        </p:spPr>
      </p:pic>
      <p:pic>
        <p:nvPicPr>
          <p:cNvPr id="8" name="Picture 7" descr="A picture containing icon&#10;&#10;Description automatically generated">
            <a:extLst>
              <a:ext uri="{FF2B5EF4-FFF2-40B4-BE49-F238E27FC236}">
                <a16:creationId xmlns:a16="http://schemas.microsoft.com/office/drawing/2014/main" id="{A9785E65-CEE9-7640-BA66-5C98791A3E1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alphaModFix amt="7000"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harpenSoften amount="-9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914319" y="-355819"/>
            <a:ext cx="8950817" cy="7569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85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8" r:id="rId5"/>
    <p:sldLayoutId id="2147483679" r:id="rId6"/>
    <p:sldLayoutId id="2147483683" r:id="rId7"/>
    <p:sldLayoutId id="2147483684" r:id="rId8"/>
    <p:sldLayoutId id="2147483689" r:id="rId9"/>
    <p:sldLayoutId id="2147483964" r:id="rId10"/>
    <p:sldLayoutId id="2147483965" r:id="rId11"/>
    <p:sldLayoutId id="214748396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C8056E-0520-4D42-B356-B34BAF6AD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5F5B07-6D3B-C447-8AEE-02B9E4D5AE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52977F-34F9-3F4C-B27E-8076EE8CA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7B706-5948-6248-B5A8-2CC906FD9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869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53A8CAA9-C3D0-C049-9CBF-4A2A27260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357575-0367-E641-A7BD-38FFBFCE86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5CC820A-8CAC-4A47-9968-81376DE68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7B706-5948-6248-B5A8-2CC906FD99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77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77" r:id="rId3"/>
    <p:sldLayoutId id="2147483719" r:id="rId4"/>
    <p:sldLayoutId id="2147483967" r:id="rId5"/>
    <p:sldLayoutId id="2147483968" r:id="rId6"/>
    <p:sldLayoutId id="214748396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.va.gov/programs/orppe/education/webinars/archives.cfm" TargetMode="Externa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1.png"/><Relationship Id="rId4" Type="http://schemas.openxmlformats.org/officeDocument/2006/relationships/image" Target="../media/image3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6.png"/><Relationship Id="rId4" Type="http://schemas.openxmlformats.org/officeDocument/2006/relationships/image" Target="../media/image4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.govdelivery.com/accounts/USVHA/subscriber/new?topic_id=USVHA_1952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veteransaffairs.webex.com/veteransaffairs/j.php?RGID=rf7c7700f8acd5ea8530765ff688f91fd" TargetMode="External"/><Relationship Id="rId5" Type="http://schemas.openxmlformats.org/officeDocument/2006/relationships/hyperlink" Target="https://dvagov.sharepoint.com/sites/VHAORPPE/VAIRRS/SitePages/VAIRRS-CCB-Requests.aspx" TargetMode="External"/><Relationship Id="rId4" Type="http://schemas.openxmlformats.org/officeDocument/2006/relationships/hyperlink" Target="https://gcc02.safelinks.protection.outlook.com/?url=https%3A%2F%2Fdvagov.sharepoint.com%2Fsites%2Fvacovhacomm%2Fadmin%2Fprojects%2Fcovid19%2FSitePages%2FCOVID-19-VA-Research-Community-Dashboard.aspx&amp;data=05%7C01%7C%7C1316595cbcbf405e798808da9a3da6d4%7Ce95f1b23abaf45ee821db7ab251ab3bf%7C0%7C0%7C637991886826671970%7CUnknown%7CTWFpbGZsb3d8eyJWIjoiMC4wLjAwMDAiLCJQIjoiV2luMzIiLCJBTiI6Ik1haWwiLCJXVCI6Mn0%3D%7C3000%7C%7C%7C&amp;sdata=DSSz%2FGtpTpkKRlk7G%2Buz43H%2Bga8fRjzXjdd98CEj6zE%3D&amp;reserved=0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13" Type="http://schemas.openxmlformats.org/officeDocument/2006/relationships/image" Target="../media/image67.png"/><Relationship Id="rId18" Type="http://schemas.openxmlformats.org/officeDocument/2006/relationships/image" Target="../media/image72.svg"/><Relationship Id="rId3" Type="http://schemas.openxmlformats.org/officeDocument/2006/relationships/image" Target="../media/image57.png"/><Relationship Id="rId21" Type="http://schemas.openxmlformats.org/officeDocument/2006/relationships/hyperlink" Target="https://public.govdelivery.com/accounts/USVHA/subscriber/new?topic_id=USVHA_1952" TargetMode="External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17" Type="http://schemas.openxmlformats.org/officeDocument/2006/relationships/image" Target="../media/image71.png"/><Relationship Id="rId2" Type="http://schemas.openxmlformats.org/officeDocument/2006/relationships/notesSlide" Target="../notesSlides/notesSlide44.xml"/><Relationship Id="rId16" Type="http://schemas.openxmlformats.org/officeDocument/2006/relationships/image" Target="../media/image70.svg"/><Relationship Id="rId20" Type="http://schemas.openxmlformats.org/officeDocument/2006/relationships/hyperlink" Target="https://www.research.va.gov/programs/orppe/vairrs/default.cfm" TargetMode="Externa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sv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10" Type="http://schemas.openxmlformats.org/officeDocument/2006/relationships/image" Target="../media/image64.svg"/><Relationship Id="rId19" Type="http://schemas.openxmlformats.org/officeDocument/2006/relationships/hyperlink" Target="https://dvagov.sharepoint.com/sites/VHAORPPE/VAIRRS" TargetMode="External"/><Relationship Id="rId4" Type="http://schemas.openxmlformats.org/officeDocument/2006/relationships/image" Target="../media/image58.svg"/><Relationship Id="rId9" Type="http://schemas.openxmlformats.org/officeDocument/2006/relationships/image" Target="../media/image63.png"/><Relationship Id="rId14" Type="http://schemas.openxmlformats.org/officeDocument/2006/relationships/image" Target="../media/image68.svg"/><Relationship Id="rId22" Type="http://schemas.openxmlformats.org/officeDocument/2006/relationships/hyperlink" Target="mailto:VAIRRS@VA.gov" TargetMode="Externa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mailto:govsupport@irbnet.org" TargetMode="External"/><Relationship Id="rId7" Type="http://schemas.openxmlformats.org/officeDocument/2006/relationships/image" Target="../media/image78.svg"/><Relationship Id="rId2" Type="http://schemas.openxmlformats.org/officeDocument/2006/relationships/hyperlink" Target="mailto:VAIRRS@va.gov" TargetMode="Externa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7.png"/><Relationship Id="rId5" Type="http://schemas.openxmlformats.org/officeDocument/2006/relationships/image" Target="../media/image76.svg"/><Relationship Id="rId4" Type="http://schemas.openxmlformats.org/officeDocument/2006/relationships/image" Target="../media/image7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s://dvagov.sharepoint.com/sites/VHAORPPE/VAIRRS" TargetMode="External"/><Relationship Id="rId2" Type="http://schemas.openxmlformats.org/officeDocument/2006/relationships/hyperlink" Target="https://www.research.va.gov/programs/orppe/vairrs/default.cfm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public.govdelivery.com/accounts/USVHA/subscriber/new?topic_id=USVHA_1952" TargetMode="External"/><Relationship Id="rId5" Type="http://schemas.openxmlformats.org/officeDocument/2006/relationships/hyperlink" Target="mailto:VAIRRS@va.gov" TargetMode="External"/><Relationship Id="rId4" Type="http://schemas.openxmlformats.org/officeDocument/2006/relationships/hyperlink" Target="https://www.research.va.gov/programs/orppe/education/webinars/archives.cfm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2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dvagov.sharepoint.com/sites/VHAORPPE/VAIRRS" TargetMode="External"/><Relationship Id="rId5" Type="http://schemas.openxmlformats.org/officeDocument/2006/relationships/hyperlink" Target="https://www.research.va.gov/programs/orppe/vairrs/default.cfm" TargetMode="External"/><Relationship Id="rId4" Type="http://schemas.openxmlformats.org/officeDocument/2006/relationships/hyperlink" Target="https://gov.irbnet.org/release/index.html" TargetMode="Externa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7497D-B5FB-8342-B87B-CDFA4F6A06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74648" y="1887450"/>
            <a:ext cx="9528929" cy="875609"/>
          </a:xfrm>
        </p:spPr>
        <p:txBody>
          <a:bodyPr lIns="91440" tIns="45720" rIns="91440" bIns="45720" anchor="ctr">
            <a:noAutofit/>
          </a:bodyPr>
          <a:lstStyle/>
          <a:p>
            <a:r>
              <a:rPr lang="en-US" sz="4800" dirty="0">
                <a:latin typeface="Calibri"/>
                <a:cs typeface="Calibri"/>
              </a:rPr>
              <a:t>VA Innovation and Research Review System (VAIRRS)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E600AA-50D8-B24B-A422-018B17C7C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04728" y="3033908"/>
            <a:ext cx="8382000" cy="43316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cs typeface="Calibri"/>
              </a:rPr>
              <a:t>Monthly Webin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2AEE29-545C-A54E-8496-691762027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04728" y="3429000"/>
            <a:ext cx="8382000" cy="875608"/>
          </a:xfrm>
        </p:spPr>
        <p:txBody>
          <a:bodyPr anchor="b"/>
          <a:lstStyle/>
          <a:p>
            <a:r>
              <a:rPr lang="en-US" dirty="0"/>
              <a:t>September 20, 2022</a:t>
            </a:r>
          </a:p>
        </p:txBody>
      </p:sp>
    </p:spTree>
    <p:extLst>
      <p:ext uri="{BB962C8B-B14F-4D97-AF65-F5344CB8AC3E}">
        <p14:creationId xmlns:p14="http://schemas.microsoft.com/office/powerpoint/2010/main" val="184050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Enrolling in IRBNet</a:t>
            </a:r>
            <a:endParaRPr lang="en-US" sz="2400" dirty="0">
              <a:latin typeface="+mn-lt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923D385-E315-9D66-6BAC-0A471C2C00BD}"/>
              </a:ext>
            </a:extLst>
          </p:cNvPr>
          <p:cNvSpPr txBox="1">
            <a:spLocks/>
          </p:cNvSpPr>
          <p:nvPr/>
        </p:nvSpPr>
        <p:spPr>
          <a:xfrm>
            <a:off x="652471" y="897344"/>
            <a:ext cx="4240954" cy="9294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ll VA facilities are listed in affiliation section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01E0D2-FC36-3610-5D08-7991B1FC3112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964275" y="1778924"/>
            <a:ext cx="4441283" cy="3472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A9FB0D-6D6D-FC82-4925-4E24D8E993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3898" y="1098981"/>
            <a:ext cx="5078723" cy="3351546"/>
          </a:xfrm>
          <a:prstGeom prst="rect">
            <a:avLst/>
          </a:prstGeom>
          <a:ln>
            <a:solidFill>
              <a:srgbClr val="003399"/>
            </a:solidFill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74DC003-AB6A-C2CA-A3AE-514ED4B0A03E}"/>
              </a:ext>
            </a:extLst>
          </p:cNvPr>
          <p:cNvCxnSpPr>
            <a:cxnSpLocks/>
          </p:cNvCxnSpPr>
          <p:nvPr/>
        </p:nvCxnSpPr>
        <p:spPr>
          <a:xfrm>
            <a:off x="1884218" y="1568335"/>
            <a:ext cx="0" cy="969819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4CD17AF-4100-1669-938D-EBEDA760E535}"/>
              </a:ext>
            </a:extLst>
          </p:cNvPr>
          <p:cNvCxnSpPr>
            <a:cxnSpLocks/>
          </p:cNvCxnSpPr>
          <p:nvPr/>
        </p:nvCxnSpPr>
        <p:spPr>
          <a:xfrm>
            <a:off x="1884218" y="2504902"/>
            <a:ext cx="3918066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0714D865-97AC-7FD0-465F-2A316E69F88D}"/>
              </a:ext>
            </a:extLst>
          </p:cNvPr>
          <p:cNvSpPr/>
          <p:nvPr/>
        </p:nvSpPr>
        <p:spPr>
          <a:xfrm>
            <a:off x="2948245" y="2931621"/>
            <a:ext cx="759230" cy="282631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586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endParaRPr lang="en-US" sz="1800" i="1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/>
              <a:t> </a:t>
            </a:r>
            <a:endParaRPr lang="en-US" i="1" dirty="0"/>
          </a:p>
        </p:txBody>
      </p:sp>
      <p:pic>
        <p:nvPicPr>
          <p:cNvPr id="3" name="Graphic 2" descr="Checkmark with solid fill">
            <a:extLst>
              <a:ext uri="{FF2B5EF4-FFF2-40B4-BE49-F238E27FC236}">
                <a16:creationId xmlns:a16="http://schemas.microsoft.com/office/drawing/2014/main" id="{55DD343D-73E1-4AD4-80B3-D48BB411BF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334502"/>
            <a:ext cx="320777" cy="32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458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User Profile – Add Affiliations</a:t>
            </a:r>
            <a:endParaRPr lang="en-US" sz="2400" dirty="0">
              <a:latin typeface="+mn-lt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923D385-E315-9D66-6BAC-0A471C2C00BD}"/>
              </a:ext>
            </a:extLst>
          </p:cNvPr>
          <p:cNvSpPr txBox="1">
            <a:spLocks/>
          </p:cNvSpPr>
          <p:nvPr/>
        </p:nvSpPr>
        <p:spPr>
          <a:xfrm>
            <a:off x="6386822" y="2289143"/>
            <a:ext cx="4825141" cy="43823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IRBNet supports multiple VAMC affiliations</a:t>
            </a:r>
          </a:p>
        </p:txBody>
      </p:sp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8D922A36-FFA8-B54F-6D21-730D0AB812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263" y="993839"/>
            <a:ext cx="4800678" cy="4586079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279A97B-8FB3-C261-FF2C-56A202D042B0}"/>
              </a:ext>
            </a:extLst>
          </p:cNvPr>
          <p:cNvCxnSpPr>
            <a:cxnSpLocks/>
          </p:cNvCxnSpPr>
          <p:nvPr/>
        </p:nvCxnSpPr>
        <p:spPr>
          <a:xfrm flipH="1">
            <a:off x="3790605" y="2508260"/>
            <a:ext cx="2497894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A5B0CEB-9345-EBBA-CEDE-FCF67DFDB1D3}"/>
              </a:ext>
            </a:extLst>
          </p:cNvPr>
          <p:cNvCxnSpPr/>
          <p:nvPr/>
        </p:nvCxnSpPr>
        <p:spPr>
          <a:xfrm>
            <a:off x="2576947" y="2582488"/>
            <a:ext cx="101415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0480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User Profile – External Accounts</a:t>
            </a:r>
            <a:endParaRPr lang="en-US" sz="2400" dirty="0">
              <a:latin typeface="+mn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5CDA371-C416-BFDB-DCDB-1B072EB90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8520" y="2177478"/>
            <a:ext cx="4376059" cy="2311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D535AFD-84F0-166A-F295-6AD26E550956}"/>
              </a:ext>
            </a:extLst>
          </p:cNvPr>
          <p:cNvSpPr txBox="1"/>
          <p:nvPr/>
        </p:nvSpPr>
        <p:spPr>
          <a:xfrm>
            <a:off x="7575166" y="4784388"/>
            <a:ext cx="4376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+mn-lt"/>
              </a:rPr>
              <a:t>VAIRRS SharePoint – </a:t>
            </a:r>
            <a:r>
              <a:rPr lang="en-US" i="1" dirty="0">
                <a:latin typeface="+mn-lt"/>
              </a:rPr>
              <a:t>Researcher Energizer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425BAC8-17D2-A342-9F28-F54C4D02AF38}"/>
              </a:ext>
            </a:extLst>
          </p:cNvPr>
          <p:cNvCxnSpPr>
            <a:cxnSpLocks/>
          </p:cNvCxnSpPr>
          <p:nvPr/>
        </p:nvCxnSpPr>
        <p:spPr>
          <a:xfrm>
            <a:off x="9566548" y="4378864"/>
            <a:ext cx="1" cy="441175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466BC3A4-5705-4997-BCE8-09E0DE81B6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383" y="1219422"/>
            <a:ext cx="6381750" cy="11811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BD3293-72FC-4D5F-95FE-C9C1FD175F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1259" y="2635330"/>
            <a:ext cx="4784004" cy="29538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3E3CB826-DA6E-4544-8F55-E8FD2BEE3B51}"/>
              </a:ext>
            </a:extLst>
          </p:cNvPr>
          <p:cNvSpPr/>
          <p:nvPr/>
        </p:nvSpPr>
        <p:spPr>
          <a:xfrm>
            <a:off x="2668590" y="2033016"/>
            <a:ext cx="2161309" cy="36750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62ADF16-9330-4B66-B538-A61A4DFF8F7B}"/>
              </a:ext>
            </a:extLst>
          </p:cNvPr>
          <p:cNvCxnSpPr>
            <a:cxnSpLocks/>
          </p:cNvCxnSpPr>
          <p:nvPr/>
        </p:nvCxnSpPr>
        <p:spPr>
          <a:xfrm flipH="1">
            <a:off x="4576197" y="3726378"/>
            <a:ext cx="507405" cy="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40659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User Profile – Training and Credentials</a:t>
            </a:r>
            <a:endParaRPr lang="en-US" sz="2400" dirty="0"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4CE717-716D-46FA-AB61-DA323AA929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639" y="1172664"/>
            <a:ext cx="4869011" cy="1057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E54095D-C08A-4057-8221-9E642E6640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769" y="2454602"/>
            <a:ext cx="4709282" cy="3052181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BF9A4DD-ABC8-4AF3-A36C-951CAE678F87}"/>
              </a:ext>
            </a:extLst>
          </p:cNvPr>
          <p:cNvSpPr/>
          <p:nvPr/>
        </p:nvSpPr>
        <p:spPr>
          <a:xfrm>
            <a:off x="1973228" y="1862713"/>
            <a:ext cx="2161309" cy="36750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FAAD262-4A9D-45D6-92A1-384427311C63}"/>
              </a:ext>
            </a:extLst>
          </p:cNvPr>
          <p:cNvSpPr/>
          <p:nvPr/>
        </p:nvSpPr>
        <p:spPr>
          <a:xfrm>
            <a:off x="501445" y="3574877"/>
            <a:ext cx="1008905" cy="176414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0FF19E7-6905-43EB-8554-4B6734D92D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4570" y="1701441"/>
            <a:ext cx="6191250" cy="29241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8E4295E0-15E1-42F1-B3EA-F58E61A67BDD}"/>
              </a:ext>
            </a:extLst>
          </p:cNvPr>
          <p:cNvSpPr/>
          <p:nvPr/>
        </p:nvSpPr>
        <p:spPr>
          <a:xfrm>
            <a:off x="9560069" y="3042689"/>
            <a:ext cx="2405752" cy="69329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290B7FE-24B0-4CFD-9558-A4D5E85CCC92}"/>
              </a:ext>
            </a:extLst>
          </p:cNvPr>
          <p:cNvSpPr txBox="1"/>
          <p:nvPr/>
        </p:nvSpPr>
        <p:spPr>
          <a:xfrm>
            <a:off x="6778168" y="4779233"/>
            <a:ext cx="39847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You must select</a:t>
            </a:r>
          </a:p>
          <a:p>
            <a:pPr algn="ctr"/>
            <a:r>
              <a:rPr lang="en-US" b="1" dirty="0">
                <a:solidFill>
                  <a:schemeClr val="accent1"/>
                </a:solidFill>
              </a:rPr>
              <a:t>‘Submit’ </a:t>
            </a:r>
            <a:r>
              <a:rPr lang="en-US" dirty="0"/>
              <a:t>to notify the administrator! 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60C1A110-49EF-4B5A-B429-86B00A18048D}"/>
              </a:ext>
            </a:extLst>
          </p:cNvPr>
          <p:cNvCxnSpPr>
            <a:cxnSpLocks/>
          </p:cNvCxnSpPr>
          <p:nvPr/>
        </p:nvCxnSpPr>
        <p:spPr>
          <a:xfrm flipH="1">
            <a:off x="1360448" y="2241395"/>
            <a:ext cx="1577696" cy="1333482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71D4033F-DC5E-4F8C-A0AE-09D6430EC06D}"/>
              </a:ext>
            </a:extLst>
          </p:cNvPr>
          <p:cNvCxnSpPr>
            <a:cxnSpLocks/>
          </p:cNvCxnSpPr>
          <p:nvPr/>
        </p:nvCxnSpPr>
        <p:spPr>
          <a:xfrm flipV="1">
            <a:off x="2877410" y="3389336"/>
            <a:ext cx="6682659" cy="1851562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79446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My Projects</a:t>
            </a:r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77A72047-5792-4655-A677-45B6F93272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334502"/>
            <a:ext cx="320777" cy="320777"/>
          </a:xfrm>
          <a:prstGeom prst="rect">
            <a:avLst/>
          </a:prstGeom>
        </p:spPr>
      </p:pic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D3BDE1F0-11AE-4D47-883A-74DB2BA1B8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840470"/>
            <a:ext cx="320777" cy="32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2830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My Projects</a:t>
            </a:r>
            <a:endParaRPr lang="en-US" sz="2400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F0D3E5-1400-D822-42A0-D478A057A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791" y="1080704"/>
            <a:ext cx="8442418" cy="44379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BD04CA3-C1A1-49F1-8216-68C805642427}"/>
              </a:ext>
            </a:extLst>
          </p:cNvPr>
          <p:cNvSpPr/>
          <p:nvPr/>
        </p:nvSpPr>
        <p:spPr>
          <a:xfrm>
            <a:off x="1585301" y="1636836"/>
            <a:ext cx="1419064" cy="36750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0FAE69A-B204-41EF-A0C2-5C1F9517F931}"/>
              </a:ext>
            </a:extLst>
          </p:cNvPr>
          <p:cNvCxnSpPr>
            <a:cxnSpLocks/>
          </p:cNvCxnSpPr>
          <p:nvPr/>
        </p:nvCxnSpPr>
        <p:spPr>
          <a:xfrm>
            <a:off x="4468075" y="2424663"/>
            <a:ext cx="1" cy="441175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36857C0-2FBE-4733-8856-2F7534CA0DE1}"/>
              </a:ext>
            </a:extLst>
          </p:cNvPr>
          <p:cNvCxnSpPr>
            <a:cxnSpLocks/>
          </p:cNvCxnSpPr>
          <p:nvPr/>
        </p:nvCxnSpPr>
        <p:spPr>
          <a:xfrm flipH="1">
            <a:off x="9952156" y="2081460"/>
            <a:ext cx="651189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BFAAE6F-0F2F-442C-8D9F-6E85D555293F}"/>
              </a:ext>
            </a:extLst>
          </p:cNvPr>
          <p:cNvCxnSpPr>
            <a:cxnSpLocks/>
          </p:cNvCxnSpPr>
          <p:nvPr/>
        </p:nvCxnSpPr>
        <p:spPr>
          <a:xfrm>
            <a:off x="1336236" y="2158570"/>
            <a:ext cx="538555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3B9D7D2-CAFF-4739-B1C1-F7F55DF3C6DD}"/>
              </a:ext>
            </a:extLst>
          </p:cNvPr>
          <p:cNvCxnSpPr>
            <a:cxnSpLocks/>
          </p:cNvCxnSpPr>
          <p:nvPr/>
        </p:nvCxnSpPr>
        <p:spPr>
          <a:xfrm flipV="1">
            <a:off x="2736259" y="2710736"/>
            <a:ext cx="0" cy="718264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413F60F-9FB7-4341-B04E-F46F6A2E487B}"/>
              </a:ext>
            </a:extLst>
          </p:cNvPr>
          <p:cNvCxnSpPr>
            <a:cxnSpLocks/>
          </p:cNvCxnSpPr>
          <p:nvPr/>
        </p:nvCxnSpPr>
        <p:spPr>
          <a:xfrm flipH="1">
            <a:off x="10215390" y="4238151"/>
            <a:ext cx="651189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8DF0AC2-BF30-4E92-AEA3-56E776D13EA5}"/>
              </a:ext>
            </a:extLst>
          </p:cNvPr>
          <p:cNvSpPr txBox="1"/>
          <p:nvPr/>
        </p:nvSpPr>
        <p:spPr>
          <a:xfrm>
            <a:off x="-103263" y="1967599"/>
            <a:ext cx="16459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n-lt"/>
              </a:rPr>
              <a:t>Notific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2623CF-97E3-42CE-ADD3-21CCA1BC7D30}"/>
              </a:ext>
            </a:extLst>
          </p:cNvPr>
          <p:cNvSpPr txBox="1"/>
          <p:nvPr/>
        </p:nvSpPr>
        <p:spPr>
          <a:xfrm>
            <a:off x="1853172" y="3422955"/>
            <a:ext cx="16459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n-lt"/>
              </a:rPr>
              <a:t>Access Librar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467E96-5417-4B13-9999-94A5345A90F3}"/>
              </a:ext>
            </a:extLst>
          </p:cNvPr>
          <p:cNvSpPr txBox="1"/>
          <p:nvPr/>
        </p:nvSpPr>
        <p:spPr>
          <a:xfrm>
            <a:off x="10240806" y="1839888"/>
            <a:ext cx="14190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n-lt"/>
              </a:rPr>
              <a:t>Search Op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913F925-59F1-41B0-BC00-B7A67125E47D}"/>
              </a:ext>
            </a:extLst>
          </p:cNvPr>
          <p:cNvSpPr txBox="1"/>
          <p:nvPr/>
        </p:nvSpPr>
        <p:spPr>
          <a:xfrm>
            <a:off x="10540984" y="4067076"/>
            <a:ext cx="16459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n-lt"/>
              </a:rPr>
              <a:t>Project List</a:t>
            </a:r>
          </a:p>
        </p:txBody>
      </p:sp>
    </p:spTree>
    <p:extLst>
      <p:ext uri="{BB962C8B-B14F-4D97-AF65-F5344CB8AC3E}">
        <p14:creationId xmlns:p14="http://schemas.microsoft.com/office/powerpoint/2010/main" val="323234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My Projects – Notifications and Reminders</a:t>
            </a:r>
            <a:endParaRPr lang="en-US" sz="240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488A1B-3D3E-4A4E-B33C-8B30430E3B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181" y="913455"/>
            <a:ext cx="7067550" cy="3200400"/>
          </a:xfrm>
          <a:prstGeom prst="rect">
            <a:avLst/>
          </a:prstGeom>
          <a:ln w="9525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AF1647E4-662E-4C62-AE14-2C9B116FA14F}"/>
              </a:ext>
            </a:extLst>
          </p:cNvPr>
          <p:cNvSpPr/>
          <p:nvPr/>
        </p:nvSpPr>
        <p:spPr>
          <a:xfrm>
            <a:off x="470699" y="1711043"/>
            <a:ext cx="1656664" cy="27201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57D2E7-0FA3-418E-A0A8-72150B6046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7042" y="2241694"/>
            <a:ext cx="5407016" cy="3466379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B0DAEDD-0B2F-BBC8-B0AF-02074D4B66BA}"/>
              </a:ext>
            </a:extLst>
          </p:cNvPr>
          <p:cNvCxnSpPr>
            <a:cxnSpLocks/>
          </p:cNvCxnSpPr>
          <p:nvPr/>
        </p:nvCxnSpPr>
        <p:spPr>
          <a:xfrm>
            <a:off x="3893795" y="2330493"/>
            <a:ext cx="2640009" cy="1155311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919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My Projects – Search Options</a:t>
            </a:r>
            <a:endParaRPr lang="en-US" sz="2400" dirty="0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5C2718-31AB-7AAB-1F55-5DA003691FEC}"/>
              </a:ext>
            </a:extLst>
          </p:cNvPr>
          <p:cNvSpPr txBox="1"/>
          <p:nvPr/>
        </p:nvSpPr>
        <p:spPr>
          <a:xfrm>
            <a:off x="661135" y="1878511"/>
            <a:ext cx="14272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+mn-lt"/>
              </a:rPr>
              <a:t>Search and Filt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11FBD6-746E-DA83-9542-F61C13626F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2825" y="1303712"/>
            <a:ext cx="8085928" cy="425057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DDCC0F-3684-5AE2-E871-1DAD70724838}"/>
              </a:ext>
            </a:extLst>
          </p:cNvPr>
          <p:cNvCxnSpPr>
            <a:cxnSpLocks/>
          </p:cNvCxnSpPr>
          <p:nvPr/>
        </p:nvCxnSpPr>
        <p:spPr>
          <a:xfrm>
            <a:off x="2128060" y="2244436"/>
            <a:ext cx="2399607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5612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My Projects – Forms and Templates </a:t>
            </a:r>
            <a:endParaRPr lang="en-US" sz="2400" dirty="0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A5C2718-31AB-7AAB-1F55-5DA003691FEC}"/>
              </a:ext>
            </a:extLst>
          </p:cNvPr>
          <p:cNvSpPr txBox="1"/>
          <p:nvPr/>
        </p:nvSpPr>
        <p:spPr>
          <a:xfrm>
            <a:off x="6634011" y="1308303"/>
            <a:ext cx="3666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+mn-lt"/>
              </a:rPr>
              <a:t>Select the correct libra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FE9389-F30B-3512-3BF7-33AAA5F42BEF}"/>
              </a:ext>
            </a:extLst>
          </p:cNvPr>
          <p:cNvSpPr txBox="1"/>
          <p:nvPr/>
        </p:nvSpPr>
        <p:spPr>
          <a:xfrm>
            <a:off x="3576453" y="5019140"/>
            <a:ext cx="12152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+mn-lt"/>
              </a:rPr>
              <a:t>Electronic Wizard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6EBF31-1587-1015-1915-602D491E7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960" y="961093"/>
            <a:ext cx="6007430" cy="3546555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DDCC0F-3684-5AE2-E871-1DAD70724838}"/>
              </a:ext>
            </a:extLst>
          </p:cNvPr>
          <p:cNvCxnSpPr>
            <a:cxnSpLocks/>
          </p:cNvCxnSpPr>
          <p:nvPr/>
        </p:nvCxnSpPr>
        <p:spPr>
          <a:xfrm flipH="1">
            <a:off x="6174495" y="1514598"/>
            <a:ext cx="919033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480A065-B3F0-0FE9-0263-38ABB40E2334}"/>
              </a:ext>
            </a:extLst>
          </p:cNvPr>
          <p:cNvCxnSpPr>
            <a:cxnSpLocks/>
          </p:cNvCxnSpPr>
          <p:nvPr/>
        </p:nvCxnSpPr>
        <p:spPr>
          <a:xfrm flipV="1">
            <a:off x="4189616" y="4177541"/>
            <a:ext cx="0" cy="841599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FA2AC2F6-FFBB-4F14-B56F-57D7E35E19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3528" y="3009772"/>
            <a:ext cx="4686300" cy="2181225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E49C5FCC-AB85-4F19-A9BA-8B483043193C}"/>
              </a:ext>
            </a:extLst>
          </p:cNvPr>
          <p:cNvSpPr/>
          <p:nvPr/>
        </p:nvSpPr>
        <p:spPr>
          <a:xfrm>
            <a:off x="7176477" y="4330224"/>
            <a:ext cx="4520401" cy="44387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0159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B2984B-CB31-47C7-AD3B-A39C9166CA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137" y="623680"/>
            <a:ext cx="2595053" cy="173088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9C948FE-873A-4396-AD92-FC9DEBAA8E20}"/>
              </a:ext>
            </a:extLst>
          </p:cNvPr>
          <p:cNvSpPr txBox="1">
            <a:spLocks/>
          </p:cNvSpPr>
          <p:nvPr/>
        </p:nvSpPr>
        <p:spPr>
          <a:xfrm>
            <a:off x="757572" y="2598986"/>
            <a:ext cx="4443383" cy="32627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 This session </a:t>
            </a:r>
            <a:r>
              <a:rPr lang="en-US" sz="1600" dirty="0">
                <a:solidFill>
                  <a:schemeClr val="bg1"/>
                </a:solidFill>
                <a:latin typeface="Calibri" panose="020F0502020204030204"/>
              </a:rPr>
              <a:t>is being recorded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he associated handouts will be available on ORPP&amp;E’s Education and Training website within one-week post-webinar.</a:t>
            </a:r>
            <a:endParaRPr lang="en-US" sz="1600" dirty="0">
              <a:solidFill>
                <a:schemeClr val="bg1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/>
              </a:rPr>
              <a:t>Close Captioning </a:t>
            </a:r>
            <a:r>
              <a:rPr lang="en-US" sz="1600" dirty="0">
                <a:solidFill>
                  <a:schemeClr val="bg1"/>
                </a:solidFill>
                <a:latin typeface="Calibri" panose="020F0502020204030204"/>
              </a:rPr>
              <a:t>- Now available in the new Webex platform. Click the “CC” button at the bottom left of the Webex scre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lang="en-US" sz="1600" dirty="0">
              <a:solidFill>
                <a:schemeClr val="bg1"/>
              </a:solidFill>
              <a:latin typeface="Calibri" panose="020F0502020204030204"/>
            </a:endParaRP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ing Sound 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/>
              </a:rPr>
              <a:t>I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u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– Call in using the number in your Webex chat box or in your registration confirmation email.</a:t>
            </a:r>
            <a:endParaRPr lang="en-US" sz="1600" dirty="0">
              <a:solidFill>
                <a:schemeClr val="bg1"/>
              </a:solidFill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76D54A4-5B54-4112-ACC6-B635EFB16713}"/>
              </a:ext>
            </a:extLst>
          </p:cNvPr>
          <p:cNvSpPr txBox="1">
            <a:spLocks/>
          </p:cNvSpPr>
          <p:nvPr/>
        </p:nvSpPr>
        <p:spPr>
          <a:xfrm>
            <a:off x="6239755" y="2598986"/>
            <a:ext cx="5308973" cy="3440347"/>
          </a:xfrm>
          <a:prstGeom prst="rect">
            <a:avLst/>
          </a:prstGeom>
        </p:spPr>
        <p:txBody>
          <a:bodyPr vert="horz" lIns="51435" tIns="25718" rIns="51435" bIns="25718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&amp;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Please use the Q&amp;A feature to submit questions.  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 sure to send questions to “All panelists”.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rgbClr val="FF0000"/>
                </a:solidFill>
                <a:latin typeface="Calibri" panose="020F0502020204030204"/>
              </a:rPr>
              <a:t>Questions will be addressed at the end of the webinar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indent="-128588" defTabSz="514350">
              <a:spcBef>
                <a:spcPts val="563"/>
              </a:spcBef>
              <a:buFont typeface="Wingdings" panose="05000000000000000000" pitchFamily="2" charset="2"/>
              <a:buChar char="ü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r Archiv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Most ORPP&amp;E webinars can be found here: 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.va.gov/programs/orppe/education/webinars/archives.cf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indent="-128588" defTabSz="514350">
              <a:spcBef>
                <a:spcPts val="563"/>
              </a:spcBef>
              <a:buFont typeface="Wingdings" panose="05000000000000000000" pitchFamily="2" charset="2"/>
              <a:buChar char="ü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8588" marR="0" lvl="0" indent="-128588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/>
              </a:rPr>
              <a:t>P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Webinar 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/>
              </a:rPr>
              <a:t>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ation Surve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  We are grateful to all that complete the post-webinar evaluation survey.  It will automatically pop up once the webinar is exited. </a:t>
            </a:r>
          </a:p>
          <a:p>
            <a:pPr marL="128588" marR="0" lvl="0" indent="-128588" algn="l" defTabSz="514350" rtl="0" eaLnBrk="1" fontAlgn="auto" latinLnBrk="0" hangingPunct="1">
              <a:lnSpc>
                <a:spcPct val="90000"/>
              </a:lnSpc>
              <a:spcBef>
                <a:spcPts val="56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45F7CF9-5134-4BA7-BF10-0BDF794C6DC3}"/>
              </a:ext>
            </a:extLst>
          </p:cNvPr>
          <p:cNvSpPr txBox="1">
            <a:spLocks/>
          </p:cNvSpPr>
          <p:nvPr/>
        </p:nvSpPr>
        <p:spPr>
          <a:xfrm>
            <a:off x="3289300" y="6248401"/>
            <a:ext cx="4813300" cy="558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rgbClr val="003E7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questions, please use Q&amp;A box and address to “All Panelists.”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Webinars will be recorded and posted within one week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E662F65-850D-4631-AD6A-04DDDD8F7309}"/>
              </a:ext>
            </a:extLst>
          </p:cNvPr>
          <p:cNvSpPr txBox="1">
            <a:spLocks/>
          </p:cNvSpPr>
          <p:nvPr/>
        </p:nvSpPr>
        <p:spPr>
          <a:xfrm>
            <a:off x="4383995" y="1682470"/>
            <a:ext cx="1633919" cy="1995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Webinar </a:t>
            </a:r>
            <a:b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</a:br>
            <a:r>
              <a:rPr kumimoji="0" lang="en-US" sz="135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Housekeeping</a:t>
            </a:r>
          </a:p>
        </p:txBody>
      </p:sp>
    </p:spTree>
    <p:extLst>
      <p:ext uri="{BB962C8B-B14F-4D97-AF65-F5344CB8AC3E}">
        <p14:creationId xmlns:p14="http://schemas.microsoft.com/office/powerpoint/2010/main" val="13038122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My Projects - Tags</a:t>
            </a:r>
            <a:endParaRPr lang="en-US" sz="2400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F0D3E5-1400-D822-42A0-D478A057A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9807" y="1147157"/>
            <a:ext cx="8442418" cy="44379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A5C2718-31AB-7AAB-1F55-5DA003691FEC}"/>
              </a:ext>
            </a:extLst>
          </p:cNvPr>
          <p:cNvSpPr txBox="1"/>
          <p:nvPr/>
        </p:nvSpPr>
        <p:spPr>
          <a:xfrm>
            <a:off x="703811" y="3203003"/>
            <a:ext cx="16459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+mn-lt"/>
              </a:rPr>
              <a:t>Use Tags to organize your workspac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9DDCC0F-3684-5AE2-E871-1DAD70724838}"/>
              </a:ext>
            </a:extLst>
          </p:cNvPr>
          <p:cNvCxnSpPr>
            <a:cxnSpLocks/>
          </p:cNvCxnSpPr>
          <p:nvPr/>
        </p:nvCxnSpPr>
        <p:spPr>
          <a:xfrm>
            <a:off x="2349729" y="3710835"/>
            <a:ext cx="3363885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4286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My Projec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Project vs Package</a:t>
            </a:r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B446C366-4AC0-4B24-9969-A2D97049A3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840470"/>
            <a:ext cx="320777" cy="320777"/>
          </a:xfrm>
          <a:prstGeom prst="rect">
            <a:avLst/>
          </a:prstGeom>
        </p:spPr>
      </p:pic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59B57705-BC99-4EDC-BB18-C2224F2A4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1363471"/>
            <a:ext cx="320777" cy="320777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3EBDB618-373B-4F0B-AD04-1FBBA0FA69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2368554"/>
            <a:ext cx="320777" cy="32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4095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Projects vs. Packages </a:t>
            </a:r>
            <a:endParaRPr lang="en-US" sz="2400" dirty="0">
              <a:latin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36270E7-ABA3-F531-6C18-49385157FB75}"/>
              </a:ext>
            </a:extLst>
          </p:cNvPr>
          <p:cNvGrpSpPr/>
          <p:nvPr/>
        </p:nvGrpSpPr>
        <p:grpSpPr>
          <a:xfrm>
            <a:off x="1893454" y="1428008"/>
            <a:ext cx="7540105" cy="3486418"/>
            <a:chOff x="1893454" y="1428008"/>
            <a:chExt cx="7540105" cy="348641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34F9562-B3B2-3263-4DC3-CB27EAAEB046}"/>
                </a:ext>
              </a:extLst>
            </p:cNvPr>
            <p:cNvSpPr/>
            <p:nvPr/>
          </p:nvSpPr>
          <p:spPr>
            <a:xfrm>
              <a:off x="3909005" y="1428008"/>
              <a:ext cx="3455231" cy="1302608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707578-6D63-2A92-6C5E-2F7B44CCB586}"/>
                </a:ext>
              </a:extLst>
            </p:cNvPr>
            <p:cNvSpPr txBox="1"/>
            <p:nvPr/>
          </p:nvSpPr>
          <p:spPr>
            <a:xfrm>
              <a:off x="4332237" y="1725369"/>
              <a:ext cx="260876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Approved Project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(Package –1</a:t>
              </a:r>
              <a:r>
                <a:rPr lang="en-US" sz="1600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642FBC7-25DF-7C90-0CD5-3119A605D4CE}"/>
                </a:ext>
              </a:extLst>
            </p:cNvPr>
            <p:cNvSpPr/>
            <p:nvPr/>
          </p:nvSpPr>
          <p:spPr>
            <a:xfrm>
              <a:off x="1893454" y="3346722"/>
              <a:ext cx="2313895" cy="1567704"/>
            </a:xfrm>
            <a:prstGeom prst="roundRect">
              <a:avLst/>
            </a:prstGeom>
            <a:solidFill>
              <a:srgbClr val="8BB8E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B943BC8-22E0-4A9A-8797-01A81F754EAA}"/>
                </a:ext>
              </a:extLst>
            </p:cNvPr>
            <p:cNvSpPr txBox="1"/>
            <p:nvPr/>
          </p:nvSpPr>
          <p:spPr>
            <a:xfrm>
              <a:off x="2100735" y="3776631"/>
              <a:ext cx="189933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(Package -2)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497A9A9-62EA-961B-3588-9E452411763F}"/>
                </a:ext>
              </a:extLst>
            </p:cNvPr>
            <p:cNvSpPr/>
            <p:nvPr/>
          </p:nvSpPr>
          <p:spPr>
            <a:xfrm>
              <a:off x="4478805" y="3346722"/>
              <a:ext cx="2313895" cy="1567704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7FDC585-FAAD-D73A-2AC0-F201D2C530C9}"/>
                </a:ext>
              </a:extLst>
            </p:cNvPr>
            <p:cNvSpPr/>
            <p:nvPr/>
          </p:nvSpPr>
          <p:spPr>
            <a:xfrm>
              <a:off x="7119664" y="3346722"/>
              <a:ext cx="2313895" cy="1567704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577F786-7C6A-C438-79D6-C774CED28B01}"/>
                </a:ext>
              </a:extLst>
            </p:cNvPr>
            <p:cNvSpPr txBox="1"/>
            <p:nvPr/>
          </p:nvSpPr>
          <p:spPr>
            <a:xfrm>
              <a:off x="4478805" y="3776631"/>
              <a:ext cx="231389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CR/Progress Report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(Package -3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770AF0E-31C6-B6C5-9F18-566B27C02BDF}"/>
                </a:ext>
              </a:extLst>
            </p:cNvPr>
            <p:cNvSpPr txBox="1"/>
            <p:nvPr/>
          </p:nvSpPr>
          <p:spPr>
            <a:xfrm>
              <a:off x="7284448" y="3776631"/>
              <a:ext cx="198432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(Package -4)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C6F9C1E-22BB-9967-3DF9-A3D5AC8D2DE7}"/>
                </a:ext>
              </a:extLst>
            </p:cNvPr>
            <p:cNvCxnSpPr>
              <a:cxnSpLocks/>
              <a:stCxn id="3" idx="2"/>
            </p:cNvCxnSpPr>
            <p:nvPr/>
          </p:nvCxnSpPr>
          <p:spPr>
            <a:xfrm>
              <a:off x="5636621" y="2433255"/>
              <a:ext cx="1" cy="59920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8B6B8AE-7937-5459-D7D2-1A517BA3AC32}"/>
                </a:ext>
              </a:extLst>
            </p:cNvPr>
            <p:cNvCxnSpPr>
              <a:cxnSpLocks/>
            </p:cNvCxnSpPr>
            <p:nvPr/>
          </p:nvCxnSpPr>
          <p:spPr>
            <a:xfrm>
              <a:off x="3050401" y="3032463"/>
              <a:ext cx="522621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BDCCE93-A9AF-9BA0-3AEB-B99CA5213897}"/>
                </a:ext>
              </a:extLst>
            </p:cNvPr>
            <p:cNvCxnSpPr>
              <a:cxnSpLocks/>
              <a:endCxn id="12" idx="0"/>
            </p:cNvCxnSpPr>
            <p:nvPr/>
          </p:nvCxnSpPr>
          <p:spPr>
            <a:xfrm>
              <a:off x="3050401" y="3032463"/>
              <a:ext cx="1" cy="31425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852BA6A-7827-8751-FFF8-023DC6017BA8}"/>
                </a:ext>
              </a:extLst>
            </p:cNvPr>
            <p:cNvCxnSpPr>
              <a:cxnSpLocks/>
              <a:stCxn id="2" idx="2"/>
              <a:endCxn id="15" idx="0"/>
            </p:cNvCxnSpPr>
            <p:nvPr/>
          </p:nvCxnSpPr>
          <p:spPr>
            <a:xfrm flipH="1">
              <a:off x="5635753" y="2730616"/>
              <a:ext cx="868" cy="61610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9B66BCB-2C8B-A23B-D79D-73A47B2DDA03}"/>
                </a:ext>
              </a:extLst>
            </p:cNvPr>
            <p:cNvCxnSpPr>
              <a:cxnSpLocks/>
            </p:cNvCxnSpPr>
            <p:nvPr/>
          </p:nvCxnSpPr>
          <p:spPr>
            <a:xfrm>
              <a:off x="8276612" y="3024509"/>
              <a:ext cx="0" cy="31089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0030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Projects vs. Packages</a:t>
            </a:r>
            <a:br>
              <a:rPr lang="en-US" sz="2400" spc="300" dirty="0">
                <a:solidFill>
                  <a:srgbClr val="002060"/>
                </a:solidFill>
                <a:cs typeface="Arial"/>
              </a:rPr>
            </a:br>
            <a:r>
              <a:rPr lang="en-US" sz="2400" spc="300" dirty="0">
                <a:solidFill>
                  <a:srgbClr val="002060"/>
                </a:solidFill>
                <a:cs typeface="Arial"/>
              </a:rPr>
              <a:t>Multi-site Projects </a:t>
            </a:r>
            <a:endParaRPr lang="en-US" sz="2400" dirty="0">
              <a:latin typeface="+mn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A3FB47D-DCA8-F093-F79A-CA76C74248B5}"/>
              </a:ext>
            </a:extLst>
          </p:cNvPr>
          <p:cNvGrpSpPr/>
          <p:nvPr/>
        </p:nvGrpSpPr>
        <p:grpSpPr>
          <a:xfrm>
            <a:off x="3959290" y="1099127"/>
            <a:ext cx="3368256" cy="1632203"/>
            <a:chOff x="2607426" y="1116987"/>
            <a:chExt cx="6022570" cy="1965061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34F9562-B3B2-3263-4DC3-CB27EAAEB046}"/>
                </a:ext>
              </a:extLst>
            </p:cNvPr>
            <p:cNvSpPr/>
            <p:nvPr/>
          </p:nvSpPr>
          <p:spPr>
            <a:xfrm>
              <a:off x="4217324" y="1116987"/>
              <a:ext cx="2759825" cy="734193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9707578-6D63-2A92-6C5E-2F7B44CCB586}"/>
                </a:ext>
              </a:extLst>
            </p:cNvPr>
            <p:cNvSpPr txBox="1"/>
            <p:nvPr/>
          </p:nvSpPr>
          <p:spPr>
            <a:xfrm>
              <a:off x="4554682" y="1138978"/>
              <a:ext cx="2083722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pproved PI Projec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– 1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642FBC7-25DF-7C90-0CD5-3119A605D4CE}"/>
                </a:ext>
              </a:extLst>
            </p:cNvPr>
            <p:cNvSpPr/>
            <p:nvPr/>
          </p:nvSpPr>
          <p:spPr>
            <a:xfrm>
              <a:off x="2607426" y="2198438"/>
              <a:ext cx="1848197" cy="883610"/>
            </a:xfrm>
            <a:prstGeom prst="roundRect">
              <a:avLst/>
            </a:prstGeom>
            <a:solidFill>
              <a:srgbClr val="8BB8E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B943BC8-22E0-4A9A-8797-01A81F754EAA}"/>
                </a:ext>
              </a:extLst>
            </p:cNvPr>
            <p:cNvSpPr txBox="1"/>
            <p:nvPr/>
          </p:nvSpPr>
          <p:spPr>
            <a:xfrm>
              <a:off x="2690207" y="2380864"/>
              <a:ext cx="1682635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2)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497A9A9-62EA-961B-3588-9E452411763F}"/>
                </a:ext>
              </a:extLst>
            </p:cNvPr>
            <p:cNvSpPr/>
            <p:nvPr/>
          </p:nvSpPr>
          <p:spPr>
            <a:xfrm>
              <a:off x="4672445" y="2198438"/>
              <a:ext cx="1848197" cy="883610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7FDC585-FAAD-D73A-2AC0-F201D2C530C9}"/>
                </a:ext>
              </a:extLst>
            </p:cNvPr>
            <p:cNvSpPr/>
            <p:nvPr/>
          </p:nvSpPr>
          <p:spPr>
            <a:xfrm>
              <a:off x="6781799" y="2198438"/>
              <a:ext cx="1848197" cy="883610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577F786-7C6A-C438-79D6-C774CED28B01}"/>
                </a:ext>
              </a:extLst>
            </p:cNvPr>
            <p:cNvSpPr txBox="1"/>
            <p:nvPr/>
          </p:nvSpPr>
          <p:spPr>
            <a:xfrm>
              <a:off x="4672445" y="2278964"/>
              <a:ext cx="1848197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CR/Progress Repor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3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770AF0E-31C6-B6C5-9F18-566B27C02BDF}"/>
                </a:ext>
              </a:extLst>
            </p:cNvPr>
            <p:cNvSpPr txBox="1"/>
            <p:nvPr/>
          </p:nvSpPr>
          <p:spPr>
            <a:xfrm>
              <a:off x="6847610" y="2380864"/>
              <a:ext cx="1716576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4)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C6F9C1E-22BB-9967-3DF9-A3D5AC8D2DE7}"/>
                </a:ext>
              </a:extLst>
            </p:cNvPr>
            <p:cNvCxnSpPr>
              <a:cxnSpLocks/>
              <a:stCxn id="3" idx="2"/>
            </p:cNvCxnSpPr>
            <p:nvPr/>
          </p:nvCxnSpPr>
          <p:spPr>
            <a:xfrm>
              <a:off x="5596543" y="1861534"/>
              <a:ext cx="2" cy="10705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8B6B8AE-7937-5459-D7D2-1A517BA3AC32}"/>
                </a:ext>
              </a:extLst>
            </p:cNvPr>
            <p:cNvCxnSpPr>
              <a:cxnSpLocks/>
            </p:cNvCxnSpPr>
            <p:nvPr/>
          </p:nvCxnSpPr>
          <p:spPr>
            <a:xfrm>
              <a:off x="3531524" y="2021311"/>
              <a:ext cx="417437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4BDCCE93-A9AF-9BA0-3AEB-B99CA5213897}"/>
                </a:ext>
              </a:extLst>
            </p:cNvPr>
            <p:cNvCxnSpPr>
              <a:cxnSpLocks/>
              <a:endCxn id="12" idx="0"/>
            </p:cNvCxnSpPr>
            <p:nvPr/>
          </p:nvCxnSpPr>
          <p:spPr>
            <a:xfrm>
              <a:off x="3531523" y="2021311"/>
              <a:ext cx="2" cy="1771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C852BA6A-7827-8751-FFF8-023DC6017BA8}"/>
                </a:ext>
              </a:extLst>
            </p:cNvPr>
            <p:cNvCxnSpPr>
              <a:cxnSpLocks/>
              <a:stCxn id="2" idx="2"/>
              <a:endCxn id="15" idx="0"/>
            </p:cNvCxnSpPr>
            <p:nvPr/>
          </p:nvCxnSpPr>
          <p:spPr>
            <a:xfrm flipH="1">
              <a:off x="5596545" y="1851179"/>
              <a:ext cx="692" cy="34725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9B66BCB-2C8B-A23B-D79D-73A47B2DDA03}"/>
                </a:ext>
              </a:extLst>
            </p:cNvPr>
            <p:cNvCxnSpPr>
              <a:cxnSpLocks/>
              <a:endCxn id="17" idx="0"/>
            </p:cNvCxnSpPr>
            <p:nvPr/>
          </p:nvCxnSpPr>
          <p:spPr>
            <a:xfrm>
              <a:off x="7705899" y="2007457"/>
              <a:ext cx="0" cy="1909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A64B5C95-22D7-4265-B6C2-2DB58038F6E7}"/>
              </a:ext>
            </a:extLst>
          </p:cNvPr>
          <p:cNvSpPr/>
          <p:nvPr/>
        </p:nvSpPr>
        <p:spPr>
          <a:xfrm>
            <a:off x="3617492" y="726811"/>
            <a:ext cx="4027055" cy="2789382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85F47FD-9C9B-4445-B1B3-567008D5D709}"/>
              </a:ext>
            </a:extLst>
          </p:cNvPr>
          <p:cNvGrpSpPr/>
          <p:nvPr/>
        </p:nvGrpSpPr>
        <p:grpSpPr>
          <a:xfrm>
            <a:off x="1174404" y="3227755"/>
            <a:ext cx="3368256" cy="1632203"/>
            <a:chOff x="2607426" y="1116987"/>
            <a:chExt cx="6022570" cy="1965061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B0D210C5-222A-4093-9D67-4E01AE0E81A4}"/>
                </a:ext>
              </a:extLst>
            </p:cNvPr>
            <p:cNvSpPr/>
            <p:nvPr/>
          </p:nvSpPr>
          <p:spPr>
            <a:xfrm>
              <a:off x="4217324" y="1116987"/>
              <a:ext cx="2759825" cy="734193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8E6DFE80-57BF-4C68-8DD6-48DCC962D0D3}"/>
                </a:ext>
              </a:extLst>
            </p:cNvPr>
            <p:cNvSpPr txBox="1"/>
            <p:nvPr/>
          </p:nvSpPr>
          <p:spPr>
            <a:xfrm>
              <a:off x="4554682" y="1138978"/>
              <a:ext cx="2083722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pproved LSI Projec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– 1)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80777CD4-6F87-4136-BC7B-9F254BC862FE}"/>
                </a:ext>
              </a:extLst>
            </p:cNvPr>
            <p:cNvSpPr/>
            <p:nvPr/>
          </p:nvSpPr>
          <p:spPr>
            <a:xfrm>
              <a:off x="2607426" y="2198438"/>
              <a:ext cx="1848197" cy="883610"/>
            </a:xfrm>
            <a:prstGeom prst="roundRect">
              <a:avLst/>
            </a:prstGeom>
            <a:solidFill>
              <a:srgbClr val="8BB8E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96AD09-C6D5-4D0E-B528-6A8FA6A92400}"/>
                </a:ext>
              </a:extLst>
            </p:cNvPr>
            <p:cNvSpPr txBox="1"/>
            <p:nvPr/>
          </p:nvSpPr>
          <p:spPr>
            <a:xfrm>
              <a:off x="2690207" y="2380864"/>
              <a:ext cx="1682635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2)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9543F23-7EF8-49D6-94FA-2E41B2B5FEA2}"/>
                </a:ext>
              </a:extLst>
            </p:cNvPr>
            <p:cNvSpPr/>
            <p:nvPr/>
          </p:nvSpPr>
          <p:spPr>
            <a:xfrm>
              <a:off x="4672445" y="2198438"/>
              <a:ext cx="1848196" cy="883610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D6B2485A-C205-4856-B32A-09243E5BB7A9}"/>
                </a:ext>
              </a:extLst>
            </p:cNvPr>
            <p:cNvSpPr/>
            <p:nvPr/>
          </p:nvSpPr>
          <p:spPr>
            <a:xfrm>
              <a:off x="6781799" y="2198438"/>
              <a:ext cx="1848197" cy="883610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4C8C562-35B4-4384-A6F4-BDBFB051E436}"/>
                </a:ext>
              </a:extLst>
            </p:cNvPr>
            <p:cNvSpPr txBox="1"/>
            <p:nvPr/>
          </p:nvSpPr>
          <p:spPr>
            <a:xfrm>
              <a:off x="4672445" y="2297758"/>
              <a:ext cx="1848197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CR/Progress Repor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3)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45D9675D-C468-4C69-9E03-99D03A14D2DC}"/>
                </a:ext>
              </a:extLst>
            </p:cNvPr>
            <p:cNvSpPr txBox="1"/>
            <p:nvPr/>
          </p:nvSpPr>
          <p:spPr>
            <a:xfrm>
              <a:off x="6847610" y="2380864"/>
              <a:ext cx="1716576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4)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6935C29F-3774-4294-BD84-3B5CD6EEA68A}"/>
                </a:ext>
              </a:extLst>
            </p:cNvPr>
            <p:cNvCxnSpPr>
              <a:cxnSpLocks/>
              <a:stCxn id="49" idx="2"/>
            </p:cNvCxnSpPr>
            <p:nvPr/>
          </p:nvCxnSpPr>
          <p:spPr>
            <a:xfrm>
              <a:off x="5596543" y="1861534"/>
              <a:ext cx="2" cy="10705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95B273-442A-4C2F-8472-2124DDC8DA27}"/>
                </a:ext>
              </a:extLst>
            </p:cNvPr>
            <p:cNvCxnSpPr>
              <a:cxnSpLocks/>
            </p:cNvCxnSpPr>
            <p:nvPr/>
          </p:nvCxnSpPr>
          <p:spPr>
            <a:xfrm>
              <a:off x="3531524" y="2021311"/>
              <a:ext cx="417437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B13EA7DE-BF86-4721-ABAC-CD97A50726A0}"/>
                </a:ext>
              </a:extLst>
            </p:cNvPr>
            <p:cNvCxnSpPr>
              <a:cxnSpLocks/>
              <a:endCxn id="50" idx="0"/>
            </p:cNvCxnSpPr>
            <p:nvPr/>
          </p:nvCxnSpPr>
          <p:spPr>
            <a:xfrm>
              <a:off x="3531523" y="2021311"/>
              <a:ext cx="2" cy="1771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468F286C-50B3-4B36-B078-4E27A3E23CFE}"/>
                </a:ext>
              </a:extLst>
            </p:cNvPr>
            <p:cNvCxnSpPr>
              <a:cxnSpLocks/>
              <a:stCxn id="48" idx="2"/>
              <a:endCxn id="52" idx="0"/>
            </p:cNvCxnSpPr>
            <p:nvPr/>
          </p:nvCxnSpPr>
          <p:spPr>
            <a:xfrm flipH="1">
              <a:off x="5596543" y="1851180"/>
              <a:ext cx="694" cy="34725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DF79DC6B-5835-4914-BED8-31848F53C807}"/>
                </a:ext>
              </a:extLst>
            </p:cNvPr>
            <p:cNvCxnSpPr>
              <a:cxnSpLocks/>
              <a:endCxn id="53" idx="0"/>
            </p:cNvCxnSpPr>
            <p:nvPr/>
          </p:nvCxnSpPr>
          <p:spPr>
            <a:xfrm>
              <a:off x="7705899" y="2007457"/>
              <a:ext cx="0" cy="1909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3EE197A9-41A7-48FC-BDDA-EBDF143750A9}"/>
              </a:ext>
            </a:extLst>
          </p:cNvPr>
          <p:cNvSpPr/>
          <p:nvPr/>
        </p:nvSpPr>
        <p:spPr>
          <a:xfrm>
            <a:off x="832606" y="2855439"/>
            <a:ext cx="4027055" cy="2789382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74DD3343-C832-4C3B-A8D3-482FD653FF7F}"/>
              </a:ext>
            </a:extLst>
          </p:cNvPr>
          <p:cNvGrpSpPr/>
          <p:nvPr/>
        </p:nvGrpSpPr>
        <p:grpSpPr>
          <a:xfrm>
            <a:off x="6815517" y="3186142"/>
            <a:ext cx="3368256" cy="1632203"/>
            <a:chOff x="2607426" y="1116987"/>
            <a:chExt cx="6022570" cy="1965061"/>
          </a:xfrm>
        </p:grpSpPr>
        <p:sp>
          <p:nvSpPr>
            <p:cNvPr id="78" name="Rectangle: Rounded Corners 77">
              <a:extLst>
                <a:ext uri="{FF2B5EF4-FFF2-40B4-BE49-F238E27FC236}">
                  <a16:creationId xmlns:a16="http://schemas.microsoft.com/office/drawing/2014/main" id="{F81A67DC-36BE-40AA-A4FD-09BAC404B7CB}"/>
                </a:ext>
              </a:extLst>
            </p:cNvPr>
            <p:cNvSpPr/>
            <p:nvPr/>
          </p:nvSpPr>
          <p:spPr>
            <a:xfrm>
              <a:off x="4217324" y="1116987"/>
              <a:ext cx="2759825" cy="734193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603E8E58-6EBF-4FA9-A6F1-3BE9AE09C5CB}"/>
                </a:ext>
              </a:extLst>
            </p:cNvPr>
            <p:cNvSpPr txBox="1"/>
            <p:nvPr/>
          </p:nvSpPr>
          <p:spPr>
            <a:xfrm>
              <a:off x="4554682" y="1138978"/>
              <a:ext cx="2083722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pproved LSI Projec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– 1)</a:t>
              </a: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9990CD85-6CB7-45A2-84CC-E40BD5C62F03}"/>
                </a:ext>
              </a:extLst>
            </p:cNvPr>
            <p:cNvSpPr/>
            <p:nvPr/>
          </p:nvSpPr>
          <p:spPr>
            <a:xfrm>
              <a:off x="2607426" y="2198438"/>
              <a:ext cx="1848197" cy="883610"/>
            </a:xfrm>
            <a:prstGeom prst="roundRect">
              <a:avLst/>
            </a:prstGeom>
            <a:solidFill>
              <a:srgbClr val="8BB8E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011E485-3C1A-4684-AFA0-F4CFBA813C8F}"/>
                </a:ext>
              </a:extLst>
            </p:cNvPr>
            <p:cNvSpPr txBox="1"/>
            <p:nvPr/>
          </p:nvSpPr>
          <p:spPr>
            <a:xfrm>
              <a:off x="2690207" y="2380864"/>
              <a:ext cx="1682635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2)</a:t>
              </a:r>
            </a:p>
          </p:txBody>
        </p:sp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8F5D307F-4C77-4839-94CA-CC943AAD80EB}"/>
                </a:ext>
              </a:extLst>
            </p:cNvPr>
            <p:cNvSpPr/>
            <p:nvPr/>
          </p:nvSpPr>
          <p:spPr>
            <a:xfrm>
              <a:off x="4672445" y="2198438"/>
              <a:ext cx="1848196" cy="883610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9E6958E1-07E3-4060-A39B-2E91D39285AA}"/>
                </a:ext>
              </a:extLst>
            </p:cNvPr>
            <p:cNvSpPr/>
            <p:nvPr/>
          </p:nvSpPr>
          <p:spPr>
            <a:xfrm>
              <a:off x="6781799" y="2198438"/>
              <a:ext cx="1848197" cy="883610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84B8DD4-0B15-41B0-929F-20BAD79FF9CC}"/>
                </a:ext>
              </a:extLst>
            </p:cNvPr>
            <p:cNvSpPr txBox="1"/>
            <p:nvPr/>
          </p:nvSpPr>
          <p:spPr>
            <a:xfrm>
              <a:off x="4672445" y="2297758"/>
              <a:ext cx="1848197" cy="722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CR/Progress Repor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3)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5F52587-9E0F-4D66-831D-34EE6FF1F899}"/>
                </a:ext>
              </a:extLst>
            </p:cNvPr>
            <p:cNvSpPr txBox="1"/>
            <p:nvPr/>
          </p:nvSpPr>
          <p:spPr>
            <a:xfrm>
              <a:off x="6847610" y="2380864"/>
              <a:ext cx="1716576" cy="5187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Amendment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(Package -4)</a:t>
              </a: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5A5E489A-D0D9-4001-9A19-238AB6F7453E}"/>
                </a:ext>
              </a:extLst>
            </p:cNvPr>
            <p:cNvCxnSpPr>
              <a:cxnSpLocks/>
              <a:stCxn id="79" idx="2"/>
            </p:cNvCxnSpPr>
            <p:nvPr/>
          </p:nvCxnSpPr>
          <p:spPr>
            <a:xfrm>
              <a:off x="5596543" y="1861534"/>
              <a:ext cx="2" cy="10705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4720B4B3-4585-4AB1-BBF1-9F2433E0A2EE}"/>
                </a:ext>
              </a:extLst>
            </p:cNvPr>
            <p:cNvCxnSpPr>
              <a:cxnSpLocks/>
            </p:cNvCxnSpPr>
            <p:nvPr/>
          </p:nvCxnSpPr>
          <p:spPr>
            <a:xfrm>
              <a:off x="3531524" y="2021311"/>
              <a:ext cx="417437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E86070B6-D8C6-4FF5-9CAE-96F5F7582D86}"/>
                </a:ext>
              </a:extLst>
            </p:cNvPr>
            <p:cNvCxnSpPr>
              <a:cxnSpLocks/>
              <a:endCxn id="80" idx="0"/>
            </p:cNvCxnSpPr>
            <p:nvPr/>
          </p:nvCxnSpPr>
          <p:spPr>
            <a:xfrm>
              <a:off x="3531523" y="2021311"/>
              <a:ext cx="2" cy="177127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F61CA65F-4FB4-4E07-9245-1DF00C78D8CD}"/>
                </a:ext>
              </a:extLst>
            </p:cNvPr>
            <p:cNvCxnSpPr>
              <a:cxnSpLocks/>
              <a:stCxn id="78" idx="2"/>
              <a:endCxn id="82" idx="0"/>
            </p:cNvCxnSpPr>
            <p:nvPr/>
          </p:nvCxnSpPr>
          <p:spPr>
            <a:xfrm flipH="1">
              <a:off x="5596543" y="1851180"/>
              <a:ext cx="694" cy="347258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Arrow Connector 89">
              <a:extLst>
                <a:ext uri="{FF2B5EF4-FFF2-40B4-BE49-F238E27FC236}">
                  <a16:creationId xmlns:a16="http://schemas.microsoft.com/office/drawing/2014/main" id="{48ECF9B9-765D-4EF3-99E6-DA03C9CE2685}"/>
                </a:ext>
              </a:extLst>
            </p:cNvPr>
            <p:cNvCxnSpPr>
              <a:cxnSpLocks/>
              <a:endCxn id="83" idx="0"/>
            </p:cNvCxnSpPr>
            <p:nvPr/>
          </p:nvCxnSpPr>
          <p:spPr>
            <a:xfrm>
              <a:off x="7705899" y="2007457"/>
              <a:ext cx="0" cy="19098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Oval 90">
            <a:extLst>
              <a:ext uri="{FF2B5EF4-FFF2-40B4-BE49-F238E27FC236}">
                <a16:creationId xmlns:a16="http://schemas.microsoft.com/office/drawing/2014/main" id="{F79F9E16-3FBC-4E54-B93C-3C62F49636B4}"/>
              </a:ext>
            </a:extLst>
          </p:cNvPr>
          <p:cNvSpPr/>
          <p:nvPr/>
        </p:nvSpPr>
        <p:spPr>
          <a:xfrm>
            <a:off x="6473719" y="2813826"/>
            <a:ext cx="4027055" cy="2789382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D3FF6D-FC8A-40E8-85A9-9824607384C3}"/>
              </a:ext>
            </a:extLst>
          </p:cNvPr>
          <p:cNvSpPr/>
          <p:nvPr/>
        </p:nvSpPr>
        <p:spPr>
          <a:xfrm>
            <a:off x="4796638" y="428784"/>
            <a:ext cx="1573508" cy="523220"/>
          </a:xfrm>
          <a:prstGeom prst="rect">
            <a:avLst/>
          </a:prstGeom>
          <a:solidFill>
            <a:srgbClr val="FFC000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I Project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112F5368-AB3C-4ADF-AEA4-8376D3E6CF3C}"/>
              </a:ext>
            </a:extLst>
          </p:cNvPr>
          <p:cNvSpPr/>
          <p:nvPr/>
        </p:nvSpPr>
        <p:spPr>
          <a:xfrm>
            <a:off x="1979063" y="2570555"/>
            <a:ext cx="1703351" cy="523220"/>
          </a:xfrm>
          <a:prstGeom prst="rect">
            <a:avLst/>
          </a:prstGeom>
          <a:solidFill>
            <a:srgbClr val="FFC000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SI Project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0D123D2-A6CD-4231-B7BF-5B337DCA310E}"/>
              </a:ext>
            </a:extLst>
          </p:cNvPr>
          <p:cNvSpPr/>
          <p:nvPr/>
        </p:nvSpPr>
        <p:spPr>
          <a:xfrm>
            <a:off x="7678835" y="2469720"/>
            <a:ext cx="1703351" cy="523220"/>
          </a:xfrm>
          <a:prstGeom prst="rect">
            <a:avLst/>
          </a:prstGeom>
          <a:solidFill>
            <a:srgbClr val="FFC000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S</a:t>
            </a:r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 Project</a:t>
            </a:r>
          </a:p>
        </p:txBody>
      </p:sp>
    </p:spTree>
    <p:extLst>
      <p:ext uri="{BB962C8B-B14F-4D97-AF65-F5344CB8AC3E}">
        <p14:creationId xmlns:p14="http://schemas.microsoft.com/office/powerpoint/2010/main" val="21369105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Projects vs. Packages </a:t>
            </a:r>
            <a:endParaRPr lang="en-US" sz="2400" dirty="0">
              <a:latin typeface="+mn-lt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4DF44FFD-7E5B-4A8D-94A1-DAF4FAF301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716116"/>
              </p:ext>
            </p:extLst>
          </p:nvPr>
        </p:nvGraphicFramePr>
        <p:xfrm>
          <a:off x="1634836" y="1560175"/>
          <a:ext cx="8783782" cy="287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1891">
                  <a:extLst>
                    <a:ext uri="{9D8B030D-6E8A-4147-A177-3AD203B41FA5}">
                      <a16:colId xmlns:a16="http://schemas.microsoft.com/office/drawing/2014/main" val="4033364657"/>
                    </a:ext>
                  </a:extLst>
                </a:gridCol>
                <a:gridCol w="4391891">
                  <a:extLst>
                    <a:ext uri="{9D8B030D-6E8A-4147-A177-3AD203B41FA5}">
                      <a16:colId xmlns:a16="http://schemas.microsoft.com/office/drawing/2014/main" val="665759656"/>
                    </a:ext>
                  </a:extLst>
                </a:gridCol>
              </a:tblGrid>
              <a:tr h="574656">
                <a:tc>
                  <a:txBody>
                    <a:bodyPr/>
                    <a:lstStyle/>
                    <a:p>
                      <a:r>
                        <a:rPr lang="en-US" dirty="0"/>
                        <a:t>When submitting a …</a:t>
                      </a: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eate a new …</a:t>
                      </a:r>
                    </a:p>
                  </a:txBody>
                  <a:tcPr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89067"/>
                  </a:ext>
                </a:extLst>
              </a:tr>
              <a:tr h="574656">
                <a:tc>
                  <a:txBody>
                    <a:bodyPr/>
                    <a:lstStyle/>
                    <a:p>
                      <a:r>
                        <a:rPr lang="en-US" dirty="0"/>
                        <a:t>New Study Application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ject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19720"/>
                  </a:ext>
                </a:extLst>
              </a:tr>
              <a:tr h="574656">
                <a:tc>
                  <a:txBody>
                    <a:bodyPr/>
                    <a:lstStyle/>
                    <a:p>
                      <a:r>
                        <a:rPr lang="en-US" dirty="0"/>
                        <a:t>New Study Action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ckage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535044"/>
                  </a:ext>
                </a:extLst>
              </a:tr>
              <a:tr h="574656">
                <a:tc>
                  <a:txBody>
                    <a:bodyPr/>
                    <a:lstStyle/>
                    <a:p>
                      <a:r>
                        <a:rPr lang="en-US" dirty="0"/>
                        <a:t>Revised submission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ckage (per local guidance)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693959"/>
                  </a:ext>
                </a:extLst>
              </a:tr>
              <a:tr h="574656">
                <a:tc>
                  <a:txBody>
                    <a:bodyPr/>
                    <a:lstStyle/>
                    <a:p>
                      <a:r>
                        <a:rPr lang="en-US" dirty="0"/>
                        <a:t>New LSI Application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 project created by PI site</a:t>
                      </a: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784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9518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My Projec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Project vs 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Creating a New Project/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i="1" dirty="0"/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B446C366-4AC0-4B24-9969-A2D97049A3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840470"/>
            <a:ext cx="320777" cy="320777"/>
          </a:xfrm>
          <a:prstGeom prst="rect">
            <a:avLst/>
          </a:prstGeom>
        </p:spPr>
      </p:pic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59B57705-BC99-4EDC-BB18-C2224F2A4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1363471"/>
            <a:ext cx="320777" cy="320777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3EBDB618-373B-4F0B-AD04-1FBBA0FA69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2368554"/>
            <a:ext cx="320777" cy="320777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ADD09076-AD54-4AA5-96C2-81631EF4B6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2858290"/>
            <a:ext cx="320777" cy="32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0237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Creating a New Project 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C5E7A-2B83-4A01-A657-5B4C2991146B}"/>
              </a:ext>
            </a:extLst>
          </p:cNvPr>
          <p:cNvSpPr txBox="1"/>
          <p:nvPr/>
        </p:nvSpPr>
        <p:spPr>
          <a:xfrm>
            <a:off x="149059" y="1062217"/>
            <a:ext cx="4252629" cy="156675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endParaRPr lang="en-US">
              <a:solidFill>
                <a:srgbClr val="000000"/>
              </a:solidFill>
              <a:highlight>
                <a:srgbClr val="FFFF00"/>
              </a:highlight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28">
            <a:extLst>
              <a:ext uri="{FF2B5EF4-FFF2-40B4-BE49-F238E27FC236}">
                <a16:creationId xmlns:a16="http://schemas.microsoft.com/office/drawing/2014/main" id="{9ACD43C5-A73F-410E-8659-C063C1F6C1B2}"/>
              </a:ext>
            </a:extLst>
          </p:cNvPr>
          <p:cNvCxnSpPr>
            <a:cxnSpLocks/>
          </p:cNvCxnSpPr>
          <p:nvPr/>
        </p:nvCxnSpPr>
        <p:spPr>
          <a:xfrm>
            <a:off x="-7036" y="1476343"/>
            <a:ext cx="557003" cy="0"/>
          </a:xfrm>
          <a:prstGeom prst="straightConnector1">
            <a:avLst/>
          </a:prstGeom>
          <a:noFill/>
          <a:ln w="19050" cap="flat" cmpd="sng" algn="ctr">
            <a:solidFill>
              <a:srgbClr val="4472C4"/>
            </a:solidFill>
            <a:prstDash val="solid"/>
            <a:round/>
            <a:tailEnd type="oval" w="med" len="med"/>
          </a:ln>
          <a:effectLst/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8F9F6F9-22B5-F2DD-EE97-3BABDC7BA1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7546"/>
          <a:stretch/>
        </p:blipFill>
        <p:spPr>
          <a:xfrm>
            <a:off x="4557783" y="1343423"/>
            <a:ext cx="2256992" cy="417115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5F99D8A1-B4BE-20D9-F99D-8D14F5E069B3}"/>
              </a:ext>
            </a:extLst>
          </p:cNvPr>
          <p:cNvSpPr/>
          <p:nvPr/>
        </p:nvSpPr>
        <p:spPr>
          <a:xfrm>
            <a:off x="4290849" y="2359225"/>
            <a:ext cx="2256993" cy="417564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1399D5D-3527-F3A9-763B-0BB83C38CBD9}"/>
              </a:ext>
            </a:extLst>
          </p:cNvPr>
          <p:cNvSpPr txBox="1">
            <a:spLocks/>
          </p:cNvSpPr>
          <p:nvPr/>
        </p:nvSpPr>
        <p:spPr>
          <a:xfrm>
            <a:off x="706062" y="1251440"/>
            <a:ext cx="3168073" cy="75703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/>
              <a:t>Select </a:t>
            </a:r>
            <a:r>
              <a:rPr lang="en-US" sz="2000" i="1" u="sng" dirty="0"/>
              <a:t>Create New Project  </a:t>
            </a:r>
            <a:r>
              <a:rPr lang="en-US" sz="2000" dirty="0"/>
              <a:t>to create a </a:t>
            </a:r>
            <a:r>
              <a:rPr lang="en-US" sz="2000" b="1" dirty="0">
                <a:solidFill>
                  <a:srgbClr val="00B0F0"/>
                </a:solidFill>
              </a:rPr>
              <a:t>new study application</a:t>
            </a:r>
          </a:p>
          <a:p>
            <a:pPr marL="0" indent="0" algn="ctr">
              <a:buNone/>
            </a:pPr>
            <a:r>
              <a:rPr lang="en-US" sz="2000" dirty="0"/>
              <a:t> </a:t>
            </a:r>
          </a:p>
          <a:p>
            <a:pPr marL="0" indent="0" algn="ctr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734253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New Project Details </a:t>
            </a:r>
            <a:endParaRPr lang="en-US" sz="2400" dirty="0">
              <a:latin typeface="+mn-lt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0B1FD25-DE34-6A2B-2C4F-1A4CA8686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6868" y="1273738"/>
            <a:ext cx="6998264" cy="4310525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33309557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Creating a New Package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C5E7A-2B83-4A01-A657-5B4C2991146B}"/>
              </a:ext>
            </a:extLst>
          </p:cNvPr>
          <p:cNvSpPr txBox="1"/>
          <p:nvPr/>
        </p:nvSpPr>
        <p:spPr>
          <a:xfrm>
            <a:off x="149059" y="1062217"/>
            <a:ext cx="4252629" cy="156675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endParaRPr lang="en-US">
              <a:solidFill>
                <a:srgbClr val="000000"/>
              </a:solidFill>
              <a:highlight>
                <a:srgbClr val="FFFF00"/>
              </a:highlight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28">
            <a:extLst>
              <a:ext uri="{FF2B5EF4-FFF2-40B4-BE49-F238E27FC236}">
                <a16:creationId xmlns:a16="http://schemas.microsoft.com/office/drawing/2014/main" id="{9ACD43C5-A73F-410E-8659-C063C1F6C1B2}"/>
              </a:ext>
            </a:extLst>
          </p:cNvPr>
          <p:cNvCxnSpPr>
            <a:cxnSpLocks/>
          </p:cNvCxnSpPr>
          <p:nvPr/>
        </p:nvCxnSpPr>
        <p:spPr>
          <a:xfrm>
            <a:off x="-7036" y="1476343"/>
            <a:ext cx="557003" cy="0"/>
          </a:xfrm>
          <a:prstGeom prst="straightConnector1">
            <a:avLst/>
          </a:prstGeom>
          <a:noFill/>
          <a:ln w="19050" cap="flat" cmpd="sng" algn="ctr">
            <a:solidFill>
              <a:srgbClr val="4472C4"/>
            </a:solidFill>
            <a:prstDash val="solid"/>
            <a:round/>
            <a:tailEnd type="oval" w="med" len="med"/>
          </a:ln>
          <a:effectLst/>
        </p:spPr>
      </p:cxn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1399D5D-3527-F3A9-763B-0BB83C38CBD9}"/>
              </a:ext>
            </a:extLst>
          </p:cNvPr>
          <p:cNvSpPr txBox="1">
            <a:spLocks/>
          </p:cNvSpPr>
          <p:nvPr/>
        </p:nvSpPr>
        <p:spPr>
          <a:xfrm>
            <a:off x="706062" y="1251440"/>
            <a:ext cx="3168073" cy="75703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Select </a:t>
            </a:r>
            <a:r>
              <a:rPr lang="en-US" sz="2000" i="1" u="sng" dirty="0"/>
              <a:t>Create a New Package  </a:t>
            </a:r>
            <a:r>
              <a:rPr lang="en-US" sz="2000" dirty="0"/>
              <a:t>to create a </a:t>
            </a:r>
            <a:r>
              <a:rPr lang="en-US" sz="2000" b="1" dirty="0">
                <a:solidFill>
                  <a:srgbClr val="00B0F0"/>
                </a:solidFill>
              </a:rPr>
              <a:t>new study action within an IRBNet project</a:t>
            </a:r>
          </a:p>
          <a:p>
            <a:pPr marL="0" indent="0">
              <a:buNone/>
            </a:pPr>
            <a:r>
              <a:rPr lang="en-US" sz="2000" dirty="0"/>
              <a:t> 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66E36D0-BB1C-36E9-2DD3-DCFD5A131FC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7546"/>
          <a:stretch/>
        </p:blipFill>
        <p:spPr>
          <a:xfrm>
            <a:off x="4118824" y="1343423"/>
            <a:ext cx="2256992" cy="417115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19B8558B-1BED-3ED6-2915-5C47FBC11029}"/>
              </a:ext>
            </a:extLst>
          </p:cNvPr>
          <p:cNvSpPr/>
          <p:nvPr/>
        </p:nvSpPr>
        <p:spPr>
          <a:xfrm>
            <a:off x="3934892" y="4929168"/>
            <a:ext cx="2256993" cy="41756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3930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Designer </a:t>
            </a:r>
            <a:endParaRPr lang="en-US" sz="2400" dirty="0"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E7B016-BB6F-A07A-FCAC-1EFEF4C764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0238" y="875162"/>
            <a:ext cx="6448425" cy="480060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A3F4AC64-E38D-A908-1F25-AE0CD0FDCD2F}"/>
              </a:ext>
            </a:extLst>
          </p:cNvPr>
          <p:cNvCxnSpPr>
            <a:cxnSpLocks/>
          </p:cNvCxnSpPr>
          <p:nvPr/>
        </p:nvCxnSpPr>
        <p:spPr>
          <a:xfrm>
            <a:off x="2194559" y="2603795"/>
            <a:ext cx="554182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90738CA-D29D-5CF6-F2A9-28D38FB199AE}"/>
              </a:ext>
            </a:extLst>
          </p:cNvPr>
          <p:cNvCxnSpPr>
            <a:cxnSpLocks/>
          </p:cNvCxnSpPr>
          <p:nvPr/>
        </p:nvCxnSpPr>
        <p:spPr>
          <a:xfrm>
            <a:off x="4891578" y="4874507"/>
            <a:ext cx="0" cy="370889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7E05324-B343-375C-0BDB-6725DDFA671F}"/>
              </a:ext>
            </a:extLst>
          </p:cNvPr>
          <p:cNvCxnSpPr>
            <a:cxnSpLocks/>
          </p:cNvCxnSpPr>
          <p:nvPr/>
        </p:nvCxnSpPr>
        <p:spPr>
          <a:xfrm>
            <a:off x="6789651" y="4856035"/>
            <a:ext cx="0" cy="370889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39F8508-B2CD-C47B-ED30-F14B4F9B936D}"/>
              </a:ext>
            </a:extLst>
          </p:cNvPr>
          <p:cNvCxnSpPr>
            <a:cxnSpLocks/>
          </p:cNvCxnSpPr>
          <p:nvPr/>
        </p:nvCxnSpPr>
        <p:spPr>
          <a:xfrm flipH="1">
            <a:off x="7602451" y="4264907"/>
            <a:ext cx="401782" cy="486343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97CA52C-C963-FBEC-F674-4C747B6E337C}"/>
              </a:ext>
            </a:extLst>
          </p:cNvPr>
          <p:cNvCxnSpPr>
            <a:cxnSpLocks/>
          </p:cNvCxnSpPr>
          <p:nvPr/>
        </p:nvCxnSpPr>
        <p:spPr>
          <a:xfrm>
            <a:off x="2194559" y="1814086"/>
            <a:ext cx="554182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5203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tents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838200" y="1305004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elcome</a:t>
            </a:r>
          </a:p>
          <a:p>
            <a:r>
              <a:rPr lang="en-US" dirty="0"/>
              <a:t>Announcements </a:t>
            </a:r>
          </a:p>
          <a:p>
            <a:r>
              <a:rPr lang="en-US" dirty="0"/>
              <a:t>IRBNet Basics for Investigators </a:t>
            </a:r>
            <a:br>
              <a:rPr lang="en-US" dirty="0"/>
            </a:br>
            <a:r>
              <a:rPr lang="en-US" sz="1800" i="1" dirty="0"/>
              <a:t>Presented by Angela Foster, Program Manager, Enterprise Research Data Systems, Office of Research Protections, Policy, and Education (ORPP&amp;E)</a:t>
            </a:r>
          </a:p>
          <a:p>
            <a:endParaRPr lang="en-US" sz="1800" i="1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/>
              <a:t>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3747168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Completing and Submitting a Package 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7C38CE-7D23-5A08-204F-D5082EA69DE9}"/>
              </a:ext>
            </a:extLst>
          </p:cNvPr>
          <p:cNvSpPr txBox="1"/>
          <p:nvPr/>
        </p:nvSpPr>
        <p:spPr>
          <a:xfrm>
            <a:off x="676640" y="1328970"/>
            <a:ext cx="59055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1</a:t>
            </a:r>
            <a:r>
              <a:rPr lang="en-US" sz="2000" dirty="0"/>
              <a:t>: Upload completed study docume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2</a:t>
            </a:r>
            <a:r>
              <a:rPr lang="en-US" sz="2000" dirty="0"/>
              <a:t>: Complete applicable wizard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3</a:t>
            </a:r>
            <a:r>
              <a:rPr lang="en-US" sz="2000" dirty="0"/>
              <a:t>: Link Training Record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4</a:t>
            </a:r>
            <a:r>
              <a:rPr lang="en-US" sz="2000" dirty="0"/>
              <a:t>: Share Package with study team memb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5</a:t>
            </a:r>
            <a:r>
              <a:rPr lang="en-US" sz="2000" dirty="0"/>
              <a:t>: Sign Packag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000" u="sng" dirty="0"/>
              <a:t>Step 6</a:t>
            </a:r>
            <a:r>
              <a:rPr lang="en-US" sz="2000" dirty="0"/>
              <a:t>: Submit Package</a:t>
            </a:r>
          </a:p>
        </p:txBody>
      </p:sp>
    </p:spTree>
    <p:extLst>
      <p:ext uri="{BB962C8B-B14F-4D97-AF65-F5344CB8AC3E}">
        <p14:creationId xmlns:p14="http://schemas.microsoft.com/office/powerpoint/2010/main" val="8019794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1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Upload Study Documents </a:t>
            </a:r>
            <a:endParaRPr lang="en-US" sz="2400" dirty="0"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0112FF-5513-7196-9620-02564CF3EA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045" r="42895" b="30827"/>
          <a:stretch/>
        </p:blipFill>
        <p:spPr>
          <a:xfrm>
            <a:off x="598041" y="1185156"/>
            <a:ext cx="6284202" cy="301178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1D119DC-3454-121C-8728-7841EA00DAA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000"/>
          <a:stretch/>
        </p:blipFill>
        <p:spPr>
          <a:xfrm>
            <a:off x="6089060" y="3612826"/>
            <a:ext cx="5807571" cy="185873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91777C8-B5A0-E35F-7531-2E50E35C9059}"/>
              </a:ext>
            </a:extLst>
          </p:cNvPr>
          <p:cNvCxnSpPr>
            <a:cxnSpLocks/>
          </p:cNvCxnSpPr>
          <p:nvPr/>
        </p:nvCxnSpPr>
        <p:spPr>
          <a:xfrm>
            <a:off x="4982095" y="3796145"/>
            <a:ext cx="4893425" cy="1230284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F25777CC-3F44-41C2-8D2C-54B5EAB723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92888" y="1386443"/>
            <a:ext cx="3676072" cy="1711017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25CCAEE6-8926-40BC-88FD-21C0100719AA}"/>
              </a:ext>
            </a:extLst>
          </p:cNvPr>
          <p:cNvSpPr/>
          <p:nvPr/>
        </p:nvSpPr>
        <p:spPr>
          <a:xfrm>
            <a:off x="7823024" y="2442891"/>
            <a:ext cx="3545936" cy="283847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7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2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Complete Applicable Wizards</a:t>
            </a:r>
            <a:endParaRPr lang="en-US" sz="2400" dirty="0"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131194-97D5-5427-F54A-004464DD0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760" y="928394"/>
            <a:ext cx="3799847" cy="392793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87C52C-0F2C-8396-AB73-454E8BE4C4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5264" y="916522"/>
            <a:ext cx="5257828" cy="1746787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28D58C8-2864-744A-2C51-871659DF3C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5264" y="2796598"/>
            <a:ext cx="5247274" cy="2796187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0099599-21F2-A900-1B1E-05A10FC64958}"/>
              </a:ext>
            </a:extLst>
          </p:cNvPr>
          <p:cNvCxnSpPr>
            <a:cxnSpLocks/>
          </p:cNvCxnSpPr>
          <p:nvPr/>
        </p:nvCxnSpPr>
        <p:spPr>
          <a:xfrm>
            <a:off x="2458718" y="4143185"/>
            <a:ext cx="0" cy="370889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F4D850EE-1819-CE1E-1D3E-D994C773B336}"/>
              </a:ext>
            </a:extLst>
          </p:cNvPr>
          <p:cNvSpPr/>
          <p:nvPr/>
        </p:nvSpPr>
        <p:spPr>
          <a:xfrm>
            <a:off x="2159462" y="3973907"/>
            <a:ext cx="33251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06D036-E221-0C80-C657-295FCE073C93}"/>
              </a:ext>
            </a:extLst>
          </p:cNvPr>
          <p:cNvSpPr/>
          <p:nvPr/>
        </p:nvSpPr>
        <p:spPr>
          <a:xfrm>
            <a:off x="4797598" y="2094647"/>
            <a:ext cx="33251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37BC811-9FE6-9C61-22C0-5074456E964C}"/>
              </a:ext>
            </a:extLst>
          </p:cNvPr>
          <p:cNvSpPr/>
          <p:nvPr/>
        </p:nvSpPr>
        <p:spPr>
          <a:xfrm>
            <a:off x="5846605" y="4441141"/>
            <a:ext cx="33251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C0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DC3174B-A0FA-BA98-03DC-9A0E2CE7ADF7}"/>
              </a:ext>
            </a:extLst>
          </p:cNvPr>
          <p:cNvCxnSpPr>
            <a:cxnSpLocks/>
          </p:cNvCxnSpPr>
          <p:nvPr/>
        </p:nvCxnSpPr>
        <p:spPr>
          <a:xfrm>
            <a:off x="4852226" y="2433201"/>
            <a:ext cx="364836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CA5D391-C83C-42B3-34EA-DB1694521A74}"/>
              </a:ext>
            </a:extLst>
          </p:cNvPr>
          <p:cNvCxnSpPr>
            <a:cxnSpLocks/>
          </p:cNvCxnSpPr>
          <p:nvPr/>
        </p:nvCxnSpPr>
        <p:spPr>
          <a:xfrm>
            <a:off x="6007894" y="4143184"/>
            <a:ext cx="0" cy="370889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B7FEADF0-B5DC-4E48-A1A7-58132E9F9F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90591" y="2263923"/>
            <a:ext cx="3238925" cy="1507548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F8B2FB54-B47A-4626-A3FB-9192341D32B4}"/>
              </a:ext>
            </a:extLst>
          </p:cNvPr>
          <p:cNvSpPr/>
          <p:nvPr/>
        </p:nvSpPr>
        <p:spPr>
          <a:xfrm>
            <a:off x="8719718" y="3429000"/>
            <a:ext cx="3009798" cy="36750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3271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2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Document Upload Complete</a:t>
            </a:r>
            <a:endParaRPr lang="en-US" sz="240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34D93D-2702-48B6-A739-861EFE27C2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613" r="613" b="24984"/>
          <a:stretch/>
        </p:blipFill>
        <p:spPr>
          <a:xfrm>
            <a:off x="2127749" y="1201594"/>
            <a:ext cx="6951596" cy="4083902"/>
          </a:xfrm>
          <a:prstGeom prst="rect">
            <a:avLst/>
          </a:prstGeom>
          <a:ln w="9525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34CFAC3B-A460-416B-8EFD-AFB54C90EE28}"/>
              </a:ext>
            </a:extLst>
          </p:cNvPr>
          <p:cNvSpPr/>
          <p:nvPr/>
        </p:nvSpPr>
        <p:spPr>
          <a:xfrm>
            <a:off x="1847863" y="2658190"/>
            <a:ext cx="7776428" cy="190457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6683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3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Link Training Records </a:t>
            </a:r>
            <a:endParaRPr lang="en-US" sz="2400" dirty="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9C230A-7232-5D24-B2C5-8AE400B4E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048" y="963187"/>
            <a:ext cx="4874138" cy="3110997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82D49EC-CD01-B968-CCB0-04F9E738F1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5688" y="2243335"/>
            <a:ext cx="6343650" cy="350520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99793561-8702-2784-793F-52F3433F6DC8}"/>
              </a:ext>
            </a:extLst>
          </p:cNvPr>
          <p:cNvSpPr/>
          <p:nvPr/>
        </p:nvSpPr>
        <p:spPr>
          <a:xfrm>
            <a:off x="2485560" y="3243885"/>
            <a:ext cx="2161309" cy="36750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C022298-1757-188D-5482-0E343280AA82}"/>
              </a:ext>
            </a:extLst>
          </p:cNvPr>
          <p:cNvSpPr/>
          <p:nvPr/>
        </p:nvSpPr>
        <p:spPr>
          <a:xfrm>
            <a:off x="5429019" y="3113862"/>
            <a:ext cx="739086" cy="1764146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C7957DA-9051-A233-B9B7-4D4A386BAC6F}"/>
              </a:ext>
            </a:extLst>
          </p:cNvPr>
          <p:cNvSpPr/>
          <p:nvPr/>
        </p:nvSpPr>
        <p:spPr>
          <a:xfrm>
            <a:off x="10661419" y="3129878"/>
            <a:ext cx="739086" cy="1764146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59447FA-0B66-4148-8D41-64DF72F33010}"/>
              </a:ext>
            </a:extLst>
          </p:cNvPr>
          <p:cNvCxnSpPr>
            <a:cxnSpLocks/>
          </p:cNvCxnSpPr>
          <p:nvPr/>
        </p:nvCxnSpPr>
        <p:spPr>
          <a:xfrm>
            <a:off x="4711521" y="3493081"/>
            <a:ext cx="660986" cy="206335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6552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4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Share Package</a:t>
            </a:r>
            <a:endParaRPr lang="en-US" sz="2400" dirty="0"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6075F6-6C41-60D7-FEF6-B6896DB0A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451" y="1352757"/>
            <a:ext cx="1826132" cy="401522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5473C1-80C7-EE77-B0BD-73C12858EB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3401" y="1012129"/>
            <a:ext cx="5705475" cy="27336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A9850F4E-A910-CF1A-5A3B-509547339728}"/>
              </a:ext>
            </a:extLst>
          </p:cNvPr>
          <p:cNvSpPr/>
          <p:nvPr/>
        </p:nvSpPr>
        <p:spPr>
          <a:xfrm>
            <a:off x="445502" y="3622972"/>
            <a:ext cx="1649268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78E09D8-770A-BDAF-C3BA-234263F9EB22}"/>
              </a:ext>
            </a:extLst>
          </p:cNvPr>
          <p:cNvSpPr/>
          <p:nvPr/>
        </p:nvSpPr>
        <p:spPr>
          <a:xfrm>
            <a:off x="4827468" y="1888464"/>
            <a:ext cx="758249" cy="27337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8E07FD9-4FE3-7B8C-D4FC-18FF97D564C1}"/>
              </a:ext>
            </a:extLst>
          </p:cNvPr>
          <p:cNvSpPr/>
          <p:nvPr/>
        </p:nvSpPr>
        <p:spPr>
          <a:xfrm>
            <a:off x="4827468" y="2499856"/>
            <a:ext cx="758249" cy="27337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C7D164C-5DD8-9C7C-4DC0-4D33453BD932}"/>
              </a:ext>
            </a:extLst>
          </p:cNvPr>
          <p:cNvSpPr/>
          <p:nvPr/>
        </p:nvSpPr>
        <p:spPr>
          <a:xfrm>
            <a:off x="4817796" y="3223683"/>
            <a:ext cx="758249" cy="27337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4735406-AB49-8D89-446B-3C144B6D8D97}"/>
              </a:ext>
            </a:extLst>
          </p:cNvPr>
          <p:cNvCxnSpPr>
            <a:cxnSpLocks/>
          </p:cNvCxnSpPr>
          <p:nvPr/>
        </p:nvCxnSpPr>
        <p:spPr>
          <a:xfrm flipV="1">
            <a:off x="2279165" y="2116975"/>
            <a:ext cx="2470173" cy="1628828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EB31065-8BE9-0F5A-50ED-1EB1816B5AAE}"/>
              </a:ext>
            </a:extLst>
          </p:cNvPr>
          <p:cNvSpPr txBox="1"/>
          <p:nvPr/>
        </p:nvSpPr>
        <p:spPr>
          <a:xfrm>
            <a:off x="4633402" y="3947510"/>
            <a:ext cx="57630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u="sng" dirty="0"/>
              <a:t>Share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dirty="0"/>
              <a:t>package with study team member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u="sng" dirty="0"/>
              <a:t>Multi-site share </a:t>
            </a:r>
            <a:r>
              <a:rPr lang="en-US" dirty="0"/>
              <a:t>with local site/non-lead site investigator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1" u="sng" dirty="0"/>
              <a:t>Transfer</a:t>
            </a:r>
            <a:r>
              <a:rPr lang="en-US" dirty="0"/>
              <a:t> ownership of project to another investigator</a:t>
            </a:r>
          </a:p>
        </p:txBody>
      </p:sp>
    </p:spTree>
    <p:extLst>
      <p:ext uri="{BB962C8B-B14F-4D97-AF65-F5344CB8AC3E}">
        <p14:creationId xmlns:p14="http://schemas.microsoft.com/office/powerpoint/2010/main" val="213924704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5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Sign Package</a:t>
            </a:r>
            <a:endParaRPr lang="en-US" sz="2400" dirty="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EB0EFDD-1ED9-C231-C863-0D194DB47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4072" y="2025734"/>
            <a:ext cx="7028124" cy="270385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EBFDA490-B254-B770-8AFD-885C21006F51}"/>
              </a:ext>
            </a:extLst>
          </p:cNvPr>
          <p:cNvSpPr/>
          <p:nvPr/>
        </p:nvSpPr>
        <p:spPr>
          <a:xfrm>
            <a:off x="7480301" y="2888272"/>
            <a:ext cx="1649268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1F8B23C-634D-A7CB-562E-47E6366E78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582" y="1122487"/>
            <a:ext cx="4299538" cy="433024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5FEE4BE9-7F70-EE4A-8CA2-53D9F2E38A1B}"/>
              </a:ext>
            </a:extLst>
          </p:cNvPr>
          <p:cNvSpPr/>
          <p:nvPr/>
        </p:nvSpPr>
        <p:spPr>
          <a:xfrm>
            <a:off x="216128" y="3304237"/>
            <a:ext cx="1649268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7558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u="sng" spc="300" dirty="0">
                <a:solidFill>
                  <a:srgbClr val="002060"/>
                </a:solidFill>
                <a:latin typeface="+mn-lt"/>
                <a:cs typeface="Arial"/>
              </a:rPr>
              <a:t>Step 6</a:t>
            </a:r>
            <a:r>
              <a:rPr lang="en-US" sz="2400" spc="300" dirty="0">
                <a:solidFill>
                  <a:srgbClr val="002060"/>
                </a:solidFill>
                <a:latin typeface="+mn-lt"/>
                <a:cs typeface="Arial"/>
              </a:rPr>
              <a:t>: Submit Package</a:t>
            </a:r>
            <a:endParaRPr lang="en-US" sz="2400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96792E-CF8E-483D-E5BF-A8F8E2D6E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1704" y="1094636"/>
            <a:ext cx="5205898" cy="297605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FA1FCA-B777-CE7F-155E-F5B982EB80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39698" y="2530253"/>
            <a:ext cx="6260340" cy="297605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7DA9BD-2F74-E168-B2F5-D39E605740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4590"/>
          <a:stretch/>
        </p:blipFill>
        <p:spPr>
          <a:xfrm>
            <a:off x="347382" y="1094636"/>
            <a:ext cx="1370584" cy="389830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DB8C77B-BAFF-4C8D-BB32-1720547CFBE5}"/>
              </a:ext>
            </a:extLst>
          </p:cNvPr>
          <p:cNvSpPr/>
          <p:nvPr/>
        </p:nvSpPr>
        <p:spPr>
          <a:xfrm>
            <a:off x="210406" y="3205278"/>
            <a:ext cx="1649268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8E80670-6290-DC96-E7E8-840027F953A1}"/>
              </a:ext>
            </a:extLst>
          </p:cNvPr>
          <p:cNvCxnSpPr>
            <a:cxnSpLocks/>
          </p:cNvCxnSpPr>
          <p:nvPr/>
        </p:nvCxnSpPr>
        <p:spPr>
          <a:xfrm>
            <a:off x="4046586" y="1937178"/>
            <a:ext cx="0" cy="370889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F4F2EA9-A959-913F-964C-42122A5DFDC1}"/>
              </a:ext>
            </a:extLst>
          </p:cNvPr>
          <p:cNvCxnSpPr>
            <a:cxnSpLocks/>
          </p:cNvCxnSpPr>
          <p:nvPr/>
        </p:nvCxnSpPr>
        <p:spPr>
          <a:xfrm flipH="1">
            <a:off x="9730815" y="3686918"/>
            <a:ext cx="457202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7890AB9-407F-C071-9AAB-48720C803B0B}"/>
              </a:ext>
            </a:extLst>
          </p:cNvPr>
          <p:cNvCxnSpPr>
            <a:cxnSpLocks/>
          </p:cNvCxnSpPr>
          <p:nvPr/>
        </p:nvCxnSpPr>
        <p:spPr>
          <a:xfrm>
            <a:off x="7412710" y="5040855"/>
            <a:ext cx="577271" cy="0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82314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My Projec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Project vs 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Creating a New Project/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Revising a Package/Response Package</a:t>
            </a:r>
          </a:p>
          <a:p>
            <a:endParaRPr lang="en-US" sz="1800" i="1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/>
              <a:t> </a:t>
            </a:r>
            <a:endParaRPr lang="en-US" i="1" dirty="0"/>
          </a:p>
        </p:txBody>
      </p:sp>
      <p:pic>
        <p:nvPicPr>
          <p:cNvPr id="4" name="Graphic 3" descr="Checkmark with solid fill">
            <a:extLst>
              <a:ext uri="{FF2B5EF4-FFF2-40B4-BE49-F238E27FC236}">
                <a16:creationId xmlns:a16="http://schemas.microsoft.com/office/drawing/2014/main" id="{46D011E3-5D04-4936-9D13-E0AB55588C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1840470"/>
            <a:ext cx="320777" cy="320777"/>
          </a:xfrm>
          <a:prstGeom prst="rect">
            <a:avLst/>
          </a:prstGeom>
        </p:spPr>
      </p:pic>
      <p:pic>
        <p:nvPicPr>
          <p:cNvPr id="5" name="Graphic 4" descr="Checkmark with solid fill">
            <a:extLst>
              <a:ext uri="{FF2B5EF4-FFF2-40B4-BE49-F238E27FC236}">
                <a16:creationId xmlns:a16="http://schemas.microsoft.com/office/drawing/2014/main" id="{0C789B20-3ED6-4C23-8F3D-8475F057FD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1363471"/>
            <a:ext cx="320777" cy="320777"/>
          </a:xfrm>
          <a:prstGeom prst="rect">
            <a:avLst/>
          </a:prstGeom>
        </p:spPr>
      </p:pic>
      <p:pic>
        <p:nvPicPr>
          <p:cNvPr id="7" name="Graphic 6" descr="Checkmark with solid fill">
            <a:extLst>
              <a:ext uri="{FF2B5EF4-FFF2-40B4-BE49-F238E27FC236}">
                <a16:creationId xmlns:a16="http://schemas.microsoft.com/office/drawing/2014/main" id="{9D615D6E-5EDF-4C08-9DFB-2E19330790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520" y="2368554"/>
            <a:ext cx="320777" cy="320777"/>
          </a:xfrm>
          <a:prstGeom prst="rect">
            <a:avLst/>
          </a:prstGeom>
        </p:spPr>
      </p:pic>
      <p:pic>
        <p:nvPicPr>
          <p:cNvPr id="8" name="Graphic 7" descr="Checkmark with solid fill">
            <a:extLst>
              <a:ext uri="{FF2B5EF4-FFF2-40B4-BE49-F238E27FC236}">
                <a16:creationId xmlns:a16="http://schemas.microsoft.com/office/drawing/2014/main" id="{8D47EB9A-654D-4198-A7C9-51CBEEBA4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2858290"/>
            <a:ext cx="320777" cy="320777"/>
          </a:xfrm>
          <a:prstGeom prst="rect">
            <a:avLst/>
          </a:prstGeom>
        </p:spPr>
      </p:pic>
      <p:pic>
        <p:nvPicPr>
          <p:cNvPr id="13" name="Graphic 12" descr="Checkmark with solid fill">
            <a:extLst>
              <a:ext uri="{FF2B5EF4-FFF2-40B4-BE49-F238E27FC236}">
                <a16:creationId xmlns:a16="http://schemas.microsoft.com/office/drawing/2014/main" id="{E7383CD6-9028-4F6F-9701-06D857116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0378" y="3386374"/>
            <a:ext cx="320777" cy="32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4421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Revised and Response Packages 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2856961-B717-8531-C9BF-48D09424E6BC}"/>
              </a:ext>
            </a:extLst>
          </p:cNvPr>
          <p:cNvSpPr txBox="1">
            <a:spLocks/>
          </p:cNvSpPr>
          <p:nvPr/>
        </p:nvSpPr>
        <p:spPr>
          <a:xfrm>
            <a:off x="646865" y="1494829"/>
            <a:ext cx="6828591" cy="27941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All packages are ‘locked’ upon submission to preserve the audit trail</a:t>
            </a:r>
          </a:p>
          <a:p>
            <a:r>
              <a:rPr lang="en-US" sz="2400" dirty="0"/>
              <a:t>Package may be ‘unlocked’ by administrator and returned to study team if required forms are missing</a:t>
            </a:r>
          </a:p>
          <a:p>
            <a:r>
              <a:rPr lang="en-US" sz="2400" dirty="0"/>
              <a:t>Package may receive a board action of ‘Information Required’ or ‘Modifications Required’ if additional information or modifications are necessary.  A response package is used to respond to the  request for more information or             modifications</a:t>
            </a:r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84754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1">
            <a:extLst>
              <a:ext uri="{FF2B5EF4-FFF2-40B4-BE49-F238E27FC236}">
                <a16:creationId xmlns:a16="http://schemas.microsoft.com/office/drawing/2014/main" id="{B1317869-F441-714D-8755-329103A4E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545" y="484988"/>
            <a:ext cx="8665564" cy="752929"/>
          </a:xfrm>
        </p:spPr>
        <p:txBody>
          <a:bodyPr/>
          <a:lstStyle/>
          <a:p>
            <a:r>
              <a:rPr lang="en-US" sz="4400" b="1" dirty="0">
                <a:latin typeface="+mn-lt"/>
              </a:rPr>
              <a:t>Important Announcements </a:t>
            </a:r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42C90B4A-C894-A040-A1B2-8DCDF55327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299" y="-187686"/>
            <a:ext cx="2160559" cy="172290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AFBBBD6-591D-48D6-A0E4-345644144C6B}"/>
              </a:ext>
            </a:extLst>
          </p:cNvPr>
          <p:cNvGrpSpPr/>
          <p:nvPr/>
        </p:nvGrpSpPr>
        <p:grpSpPr>
          <a:xfrm>
            <a:off x="218608" y="1513822"/>
            <a:ext cx="3869337" cy="3272366"/>
            <a:chOff x="723740" y="2099379"/>
            <a:chExt cx="3862225" cy="2437741"/>
          </a:xfrm>
        </p:grpSpPr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29DCDAEF-ADE6-4EF1-9812-FC3E3B0E4DAB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FAA05AA-F041-422E-A49E-AF8FDF7B1616}"/>
                </a:ext>
              </a:extLst>
            </p:cNvPr>
            <p:cNvSpPr/>
            <p:nvPr/>
          </p:nvSpPr>
          <p:spPr>
            <a:xfrm>
              <a:off x="723740" y="2226751"/>
              <a:ext cx="3862225" cy="23103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3E72"/>
                </a:solidFill>
              </a:endParaRPr>
            </a:p>
          </p:txBody>
        </p:sp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86AFC989-F4F5-4AE8-BF74-BF90AC685681}"/>
                </a:ext>
              </a:extLst>
            </p:cNvPr>
            <p:cNvSpPr/>
            <p:nvPr/>
          </p:nvSpPr>
          <p:spPr>
            <a:xfrm>
              <a:off x="2855759" y="2099379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201A73C-3ECC-46E5-AA6A-FE57535FCEB0}"/>
                </a:ext>
              </a:extLst>
            </p:cNvPr>
            <p:cNvSpPr txBox="1"/>
            <p:nvPr/>
          </p:nvSpPr>
          <p:spPr>
            <a:xfrm>
              <a:off x="724144" y="2318605"/>
              <a:ext cx="3789519" cy="7375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2400" b="1" dirty="0">
                  <a:solidFill>
                    <a:srgbClr val="003E72"/>
                  </a:solidFill>
                  <a:latin typeface="+mn-lt"/>
                  <a:ea typeface="Open Sans" panose="020B0606030504020204" pitchFamily="34" charset="0"/>
                  <a:cs typeface="Segoe UI" panose="020B0502040204020203" pitchFamily="34" charset="0"/>
                </a:rPr>
                <a:t>COVID-19 Research Dashboard 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44DD1DB-CFED-4E4F-9CF3-2B91BCDECE21}"/>
              </a:ext>
            </a:extLst>
          </p:cNvPr>
          <p:cNvGrpSpPr/>
          <p:nvPr/>
        </p:nvGrpSpPr>
        <p:grpSpPr>
          <a:xfrm>
            <a:off x="4161331" y="1535221"/>
            <a:ext cx="3869337" cy="3252132"/>
            <a:chOff x="787641" y="2104880"/>
            <a:chExt cx="3712360" cy="2543473"/>
          </a:xfrm>
        </p:grpSpPr>
        <p:sp>
          <p:nvSpPr>
            <p:cNvPr id="44" name="Freeform 21">
              <a:extLst>
                <a:ext uri="{FF2B5EF4-FFF2-40B4-BE49-F238E27FC236}">
                  <a16:creationId xmlns:a16="http://schemas.microsoft.com/office/drawing/2014/main" id="{EA267CC8-314A-4F1C-8A99-C2E459E1DFA1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5B21EF2-6A4C-47E7-A630-EACD59FDFEAA}"/>
                </a:ext>
              </a:extLst>
            </p:cNvPr>
            <p:cNvSpPr/>
            <p:nvPr/>
          </p:nvSpPr>
          <p:spPr>
            <a:xfrm>
              <a:off x="787641" y="2199378"/>
              <a:ext cx="3712360" cy="24489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647E3FCF-9DEE-406B-A9AD-798CAB0403EE}"/>
                </a:ext>
              </a:extLst>
            </p:cNvPr>
            <p:cNvSpPr/>
            <p:nvPr/>
          </p:nvSpPr>
          <p:spPr>
            <a:xfrm>
              <a:off x="2874585" y="2104880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5F770CF-8764-4A82-9140-BB9FB981D4C6}"/>
                </a:ext>
              </a:extLst>
            </p:cNvPr>
            <p:cNvSpPr txBox="1"/>
            <p:nvPr/>
          </p:nvSpPr>
          <p:spPr>
            <a:xfrm>
              <a:off x="800234" y="2321541"/>
              <a:ext cx="2851820" cy="64991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R="0">
                <a:spcBef>
                  <a:spcPts val="0"/>
                </a:spcBef>
              </a:pPr>
              <a:r>
                <a:rPr lang="en-US" sz="2400" b="1" dirty="0">
                  <a:solidFill>
                    <a:srgbClr val="003E72"/>
                  </a:solidFill>
                  <a:ea typeface="Open Sans" panose="020B0606030504020204" pitchFamily="34" charset="0"/>
                  <a:cs typeface="Segoe UI" panose="020B0502040204020203" pitchFamily="34" charset="0"/>
                </a:rPr>
                <a:t>VAIRRS Change Control Board (CCB)   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DEDFA24-B60F-47DF-BA85-5DF5A4B93BDB}"/>
              </a:ext>
            </a:extLst>
          </p:cNvPr>
          <p:cNvSpPr txBox="1"/>
          <p:nvPr/>
        </p:nvSpPr>
        <p:spPr>
          <a:xfrm>
            <a:off x="218608" y="5078088"/>
            <a:ext cx="1137621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</a:rPr>
              <a:t>Subscribe to the </a:t>
            </a:r>
            <a:r>
              <a:rPr lang="en-US" b="1" i="1" dirty="0">
                <a:solidFill>
                  <a:schemeClr val="bg1"/>
                </a:solidFill>
              </a:rPr>
              <a:t>VAIRRS Newsletter </a:t>
            </a:r>
            <a:r>
              <a:rPr lang="en-US" i="1" dirty="0">
                <a:solidFill>
                  <a:schemeClr val="bg1"/>
                </a:solidFill>
              </a:rPr>
              <a:t>and </a:t>
            </a:r>
            <a:r>
              <a:rPr lang="en-US" b="1" i="1" dirty="0">
                <a:solidFill>
                  <a:schemeClr val="bg1"/>
                </a:solidFill>
              </a:rPr>
              <a:t>Program Update </a:t>
            </a:r>
            <a:r>
              <a:rPr lang="en-US" i="1" dirty="0">
                <a:solidFill>
                  <a:schemeClr val="bg1"/>
                </a:solidFill>
              </a:rPr>
              <a:t>to keep up with important announcements and program updates: </a:t>
            </a:r>
            <a:r>
              <a:rPr lang="en-US" i="1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ublic.govdelivery.com/accounts/USVHA/subscriber/new?topic_id=USVHA_1952</a:t>
            </a:r>
            <a:r>
              <a:rPr lang="en-US" i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3" name="Inhaltsplatzhalter 4">
            <a:extLst>
              <a:ext uri="{FF2B5EF4-FFF2-40B4-BE49-F238E27FC236}">
                <a16:creationId xmlns:a16="http://schemas.microsoft.com/office/drawing/2014/main" id="{A1019046-BBFC-453E-8241-8DE13DE9017A}"/>
              </a:ext>
            </a:extLst>
          </p:cNvPr>
          <p:cNvSpPr txBox="1">
            <a:spLocks/>
          </p:cNvSpPr>
          <p:nvPr/>
        </p:nvSpPr>
        <p:spPr>
          <a:xfrm>
            <a:off x="394245" y="2735658"/>
            <a:ext cx="3614149" cy="200054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6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D developed a dashboard of COVID-19 research activities occurring across the VA</a:t>
            </a:r>
            <a:r>
              <a:rPr lang="en-US" sz="1600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. You can a</a:t>
            </a:r>
            <a:r>
              <a:rPr lang="en-US" sz="16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cess the </a:t>
            </a:r>
            <a:r>
              <a:rPr lang="en-US" sz="16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COVID-19 Research dashboard </a:t>
            </a:r>
            <a:r>
              <a:rPr lang="en-US" sz="16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n the VA network. Additionally, ORD also provides a slightly limited version of the dashboard for non-VA audiences on </a:t>
            </a:r>
            <a:r>
              <a:rPr lang="en-US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ttps://www.research.va.gov/covid-19-research-dashboard.cfm</a:t>
            </a:r>
            <a:r>
              <a:rPr lang="en-US" sz="1800" u="sng" dirty="0">
                <a:solidFill>
                  <a:srgbClr val="002060"/>
                </a:solidFill>
                <a:effectLst/>
                <a:latin typeface="Calibri"/>
                <a:ea typeface="Open Sans" panose="020B0606030504020204" pitchFamily="34" charset="0"/>
                <a:cs typeface="Calibri Light"/>
              </a:rPr>
              <a:t>.</a:t>
            </a:r>
            <a:endParaRPr lang="en-US" sz="1600" dirty="0">
              <a:solidFill>
                <a:srgbClr val="002060"/>
              </a:solidFill>
              <a:latin typeface="Calibri"/>
              <a:ea typeface="Open Sans" panose="020B0606030504020204" pitchFamily="34" charset="0"/>
              <a:cs typeface="Calibri Ligh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9989A0-A538-95A2-5637-C88F0DBEA11E}"/>
              </a:ext>
            </a:extLst>
          </p:cNvPr>
          <p:cNvGrpSpPr/>
          <p:nvPr/>
        </p:nvGrpSpPr>
        <p:grpSpPr>
          <a:xfrm>
            <a:off x="8104055" y="1456418"/>
            <a:ext cx="3869337" cy="3329770"/>
            <a:chOff x="723740" y="2100528"/>
            <a:chExt cx="3862225" cy="2476784"/>
          </a:xfrm>
        </p:grpSpPr>
        <p:sp>
          <p:nvSpPr>
            <p:cNvPr id="18" name="Freeform 21">
              <a:extLst>
                <a:ext uri="{FF2B5EF4-FFF2-40B4-BE49-F238E27FC236}">
                  <a16:creationId xmlns:a16="http://schemas.microsoft.com/office/drawing/2014/main" id="{8C157776-4044-5D44-B15F-39E1931BF1FC}"/>
                </a:ext>
              </a:extLst>
            </p:cNvPr>
            <p:cNvSpPr>
              <a:spLocks/>
            </p:cNvSpPr>
            <p:nvPr/>
          </p:nvSpPr>
          <p:spPr bwMode="auto">
            <a:xfrm rot="2700000">
              <a:off x="2812694" y="2080821"/>
              <a:ext cx="448147" cy="515959"/>
            </a:xfrm>
            <a:custGeom>
              <a:avLst/>
              <a:gdLst/>
              <a:ahLst/>
              <a:cxnLst>
                <a:cxn ang="0">
                  <a:pos x="0" y="122"/>
                </a:cxn>
                <a:cxn ang="0">
                  <a:pos x="29" y="239"/>
                </a:cxn>
                <a:cxn ang="0">
                  <a:pos x="248" y="20"/>
                </a:cxn>
                <a:cxn ang="0">
                  <a:pos x="7" y="76"/>
                </a:cxn>
                <a:cxn ang="0">
                  <a:pos x="0" y="122"/>
                </a:cxn>
              </a:cxnLst>
              <a:rect l="0" t="0" r="r" b="b"/>
              <a:pathLst>
                <a:path w="248" h="286">
                  <a:moveTo>
                    <a:pt x="0" y="122"/>
                  </a:moveTo>
                  <a:cubicBezTo>
                    <a:pt x="0" y="122"/>
                    <a:pt x="7" y="192"/>
                    <a:pt x="29" y="239"/>
                  </a:cubicBezTo>
                  <a:cubicBezTo>
                    <a:pt x="51" y="286"/>
                    <a:pt x="248" y="20"/>
                    <a:pt x="248" y="20"/>
                  </a:cubicBezTo>
                  <a:cubicBezTo>
                    <a:pt x="248" y="20"/>
                    <a:pt x="38" y="0"/>
                    <a:pt x="7" y="76"/>
                  </a:cubicBezTo>
                  <a:cubicBezTo>
                    <a:pt x="0" y="122"/>
                    <a:pt x="0" y="122"/>
                    <a:pt x="0" y="122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83EB563-60DE-6F0A-FEDB-2FCD52A4491C}"/>
                </a:ext>
              </a:extLst>
            </p:cNvPr>
            <p:cNvSpPr/>
            <p:nvPr/>
          </p:nvSpPr>
          <p:spPr>
            <a:xfrm>
              <a:off x="723740" y="2226751"/>
              <a:ext cx="3862225" cy="2350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24" name="Freeform 4">
              <a:extLst>
                <a:ext uri="{FF2B5EF4-FFF2-40B4-BE49-F238E27FC236}">
                  <a16:creationId xmlns:a16="http://schemas.microsoft.com/office/drawing/2014/main" id="{10396576-3B7E-638D-6085-D54706B0FF30}"/>
                </a:ext>
              </a:extLst>
            </p:cNvPr>
            <p:cNvSpPr/>
            <p:nvPr/>
          </p:nvSpPr>
          <p:spPr>
            <a:xfrm>
              <a:off x="2858745" y="2100528"/>
              <a:ext cx="1524595" cy="855038"/>
            </a:xfrm>
            <a:custGeom>
              <a:avLst/>
              <a:gdLst>
                <a:gd name="connsiteX0" fmla="*/ 122855 w 1865670"/>
                <a:gd name="connsiteY0" fmla="*/ 1 h 1108831"/>
                <a:gd name="connsiteX1" fmla="*/ 1233131 w 1865670"/>
                <a:gd name="connsiteY1" fmla="*/ 46 h 1108831"/>
                <a:gd name="connsiteX2" fmla="*/ 1333240 w 1865670"/>
                <a:gd name="connsiteY2" fmla="*/ 36452 h 1108831"/>
                <a:gd name="connsiteX3" fmla="*/ 1721549 w 1865670"/>
                <a:gd name="connsiteY3" fmla="*/ 424762 h 1108831"/>
                <a:gd name="connsiteX4" fmla="*/ 1865636 w 1865670"/>
                <a:gd name="connsiteY4" fmla="*/ 280674 h 1108831"/>
                <a:gd name="connsiteX5" fmla="*/ 1865670 w 1865670"/>
                <a:gd name="connsiteY5" fmla="*/ 1108831 h 1108831"/>
                <a:gd name="connsiteX6" fmla="*/ 987460 w 1865670"/>
                <a:gd name="connsiteY6" fmla="*/ 1107279 h 1108831"/>
                <a:gd name="connsiteX7" fmla="*/ 1134580 w 1865670"/>
                <a:gd name="connsiteY7" fmla="*/ 960158 h 1108831"/>
                <a:gd name="connsiteX8" fmla="*/ 285154 w 1865670"/>
                <a:gd name="connsiteY8" fmla="*/ 110732 h 1108831"/>
                <a:gd name="connsiteX9" fmla="*/ 104655 w 1865670"/>
                <a:gd name="connsiteY9" fmla="*/ 33369 h 1108831"/>
                <a:gd name="connsiteX10" fmla="*/ 0 w 1865670"/>
                <a:gd name="connsiteY10" fmla="*/ 86452 h 1108831"/>
                <a:gd name="connsiteX11" fmla="*/ 122855 w 1865670"/>
                <a:gd name="connsiteY11" fmla="*/ 1 h 1108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5670" h="1108831">
                  <a:moveTo>
                    <a:pt x="122855" y="1"/>
                  </a:moveTo>
                  <a:cubicBezTo>
                    <a:pt x="122855" y="1"/>
                    <a:pt x="1166393" y="43"/>
                    <a:pt x="1233131" y="46"/>
                  </a:cubicBezTo>
                  <a:cubicBezTo>
                    <a:pt x="1301386" y="-1468"/>
                    <a:pt x="1333240" y="36452"/>
                    <a:pt x="1333240" y="36452"/>
                  </a:cubicBezTo>
                  <a:cubicBezTo>
                    <a:pt x="1333240" y="36452"/>
                    <a:pt x="1333240" y="36452"/>
                    <a:pt x="1721549" y="424762"/>
                  </a:cubicBezTo>
                  <a:lnTo>
                    <a:pt x="1865636" y="280674"/>
                  </a:lnTo>
                  <a:cubicBezTo>
                    <a:pt x="1865636" y="280674"/>
                    <a:pt x="1865636" y="280674"/>
                    <a:pt x="1865670" y="1108831"/>
                  </a:cubicBezTo>
                  <a:cubicBezTo>
                    <a:pt x="1865670" y="1108831"/>
                    <a:pt x="1865670" y="1108831"/>
                    <a:pt x="987460" y="1107279"/>
                  </a:cubicBezTo>
                  <a:cubicBezTo>
                    <a:pt x="987460" y="1107279"/>
                    <a:pt x="987460" y="1107279"/>
                    <a:pt x="1134580" y="960158"/>
                  </a:cubicBezTo>
                  <a:cubicBezTo>
                    <a:pt x="1134580" y="960158"/>
                    <a:pt x="333693" y="159270"/>
                    <a:pt x="285154" y="110732"/>
                  </a:cubicBezTo>
                  <a:cubicBezTo>
                    <a:pt x="235099" y="63710"/>
                    <a:pt x="165326" y="33371"/>
                    <a:pt x="104655" y="33369"/>
                  </a:cubicBezTo>
                  <a:cubicBezTo>
                    <a:pt x="40951" y="33366"/>
                    <a:pt x="0" y="86452"/>
                    <a:pt x="0" y="86452"/>
                  </a:cubicBezTo>
                  <a:cubicBezTo>
                    <a:pt x="54601" y="-1519"/>
                    <a:pt x="122855" y="1"/>
                    <a:pt x="122855" y="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3E72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2FB0D4C-8614-7814-BF18-630654835B87}"/>
                </a:ext>
              </a:extLst>
            </p:cNvPr>
            <p:cNvSpPr txBox="1"/>
            <p:nvPr/>
          </p:nvSpPr>
          <p:spPr>
            <a:xfrm>
              <a:off x="804825" y="2447282"/>
              <a:ext cx="3714679" cy="3434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2400" b="1" dirty="0">
                  <a:solidFill>
                    <a:srgbClr val="003E72"/>
                  </a:solidFill>
                  <a:latin typeface="+mn-lt"/>
                  <a:ea typeface="Open Sans" panose="020B0606030504020204" pitchFamily="34" charset="0"/>
                  <a:cs typeface="Segoe UI" panose="020B0502040204020203" pitchFamily="34" charset="0"/>
                </a:rPr>
                <a:t>VAEDA Webinar </a:t>
              </a:r>
            </a:p>
          </p:txBody>
        </p:sp>
      </p:grpSp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73B77CB6-F24C-9363-A79C-78E961C72FB8}"/>
              </a:ext>
            </a:extLst>
          </p:cNvPr>
          <p:cNvSpPr txBox="1">
            <a:spLocks/>
          </p:cNvSpPr>
          <p:nvPr/>
        </p:nvSpPr>
        <p:spPr>
          <a:xfrm>
            <a:off x="4294886" y="2735371"/>
            <a:ext cx="3657575" cy="1384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1800" dirty="0">
                <a:solidFill>
                  <a:srgbClr val="003F7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ffective on September 6, 2022, the VAIRRS Change Control Board (CCB) intake process has been updated. All change requests must be submitted through the </a:t>
            </a:r>
            <a:r>
              <a:rPr lang="en-US" sz="1800" dirty="0">
                <a:solidFill>
                  <a:srgbClr val="003F7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VAIRRS CCB Request Form. </a:t>
            </a:r>
            <a:endParaRPr lang="en-US" sz="1700" dirty="0">
              <a:solidFill>
                <a:srgbClr val="004073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1CE048-CB2A-D09E-FB5F-7D84CD6FDFB7}"/>
              </a:ext>
            </a:extLst>
          </p:cNvPr>
          <p:cNvSpPr txBox="1"/>
          <p:nvPr/>
        </p:nvSpPr>
        <p:spPr>
          <a:xfrm>
            <a:off x="8177963" y="2705833"/>
            <a:ext cx="3571213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dirty="0">
                <a:solidFill>
                  <a:srgbClr val="003F7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he VA Electronic Determination Aid (VAEDA) has completed the "soft launch" phase, and we are gearing up for the official launch on September 21, 2022. </a:t>
            </a:r>
            <a:r>
              <a:rPr lang="en-US" sz="1800" dirty="0">
                <a:solidFill>
                  <a:srgbClr val="1D578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CLICK HERE TO REGISTER!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76433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919956" y="1042735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Unlocked Package 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2856961-B717-8531-C9BF-48D09424E6BC}"/>
              </a:ext>
            </a:extLst>
          </p:cNvPr>
          <p:cNvSpPr txBox="1">
            <a:spLocks/>
          </p:cNvSpPr>
          <p:nvPr/>
        </p:nvSpPr>
        <p:spPr>
          <a:xfrm>
            <a:off x="536872" y="1264188"/>
            <a:ext cx="8229600" cy="18109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sz="2000" dirty="0"/>
              <a:t>Reference unlock message for details and instructions from administrator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Follow instructions to revise documents or upload missing documents to packag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Mark Revisions Complete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D5AF403-87A5-452F-8BB5-8D8C163E66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3599" y="2891926"/>
            <a:ext cx="6615845" cy="283261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FB11A8C9-1EDD-4F49-B0AB-D08533FFCB86}"/>
              </a:ext>
            </a:extLst>
          </p:cNvPr>
          <p:cNvSpPr/>
          <p:nvPr/>
        </p:nvSpPr>
        <p:spPr>
          <a:xfrm>
            <a:off x="7897455" y="4863520"/>
            <a:ext cx="584397" cy="945370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7088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Revising Unlocked Package</a:t>
            </a:r>
            <a:endParaRPr lang="en-US" sz="2400" dirty="0"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9CD1DC6-500D-B641-2C08-03A686A57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041" y="1230861"/>
            <a:ext cx="6457950" cy="316230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7F1EB79-3EA8-77D4-E7BA-8A108708E544}"/>
              </a:ext>
            </a:extLst>
          </p:cNvPr>
          <p:cNvSpPr/>
          <p:nvPr/>
        </p:nvSpPr>
        <p:spPr>
          <a:xfrm>
            <a:off x="4078058" y="1967605"/>
            <a:ext cx="3003850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A394F22-3F4E-9D39-C5CD-6834EFCAA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63597" y="3780211"/>
            <a:ext cx="6286500" cy="1400175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8EBE832-5082-8639-165A-947D24A34A47}"/>
              </a:ext>
            </a:extLst>
          </p:cNvPr>
          <p:cNvCxnSpPr>
            <a:cxnSpLocks/>
            <a:stCxn id="15" idx="6"/>
          </p:cNvCxnSpPr>
          <p:nvPr/>
        </p:nvCxnSpPr>
        <p:spPr>
          <a:xfrm>
            <a:off x="7081908" y="2118145"/>
            <a:ext cx="3454100" cy="1929229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57865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Revising Unlocked Package</a:t>
            </a:r>
            <a:endParaRPr lang="en-US" sz="240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1174C2-C557-4ED0-A639-AC26E1D663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46" y="875162"/>
            <a:ext cx="7034213" cy="4677810"/>
          </a:xfrm>
          <a:prstGeom prst="rect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BE02235-1385-4061-A8F3-1EA97227FD7B}"/>
              </a:ext>
            </a:extLst>
          </p:cNvPr>
          <p:cNvCxnSpPr>
            <a:cxnSpLocks/>
          </p:cNvCxnSpPr>
          <p:nvPr/>
        </p:nvCxnSpPr>
        <p:spPr>
          <a:xfrm>
            <a:off x="7283178" y="3214067"/>
            <a:ext cx="0" cy="599664"/>
          </a:xfrm>
          <a:prstGeom prst="straightConnector1">
            <a:avLst/>
          </a:prstGeom>
          <a:ln w="571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55AAEBD-062D-4859-ACE3-77B5E8073274}"/>
              </a:ext>
            </a:extLst>
          </p:cNvPr>
          <p:cNvSpPr txBox="1"/>
          <p:nvPr/>
        </p:nvSpPr>
        <p:spPr>
          <a:xfrm>
            <a:off x="8366088" y="2299771"/>
            <a:ext cx="32499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elect      to replace an uploaded document or edit a wizard.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Select        to delete document from package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17798C-4FC2-4383-B23E-0DA8C46128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2750" y="2339026"/>
            <a:ext cx="247506" cy="2865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A848D99-E701-46FF-A9CC-A2AE6664B4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8576" y="3431775"/>
            <a:ext cx="300914" cy="28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3798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Revising Unlocked Package</a:t>
            </a:r>
            <a:endParaRPr lang="en-US" sz="2400" dirty="0"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0C1BA0-9C2A-BFB5-AACE-68B680F09F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60" y="1050492"/>
            <a:ext cx="6610350" cy="4276725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E30F6BB2-3F02-0536-A3EB-D3AF54AE186F}"/>
              </a:ext>
            </a:extLst>
          </p:cNvPr>
          <p:cNvSpPr/>
          <p:nvPr/>
        </p:nvSpPr>
        <p:spPr>
          <a:xfrm>
            <a:off x="4614487" y="1625859"/>
            <a:ext cx="1671781" cy="3010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353C5-D1B4-130A-B21A-305779169621}"/>
              </a:ext>
            </a:extLst>
          </p:cNvPr>
          <p:cNvSpPr txBox="1"/>
          <p:nvPr/>
        </p:nvSpPr>
        <p:spPr>
          <a:xfrm>
            <a:off x="7457230" y="1314733"/>
            <a:ext cx="29669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You must select</a:t>
            </a:r>
          </a:p>
          <a:p>
            <a:pPr algn="ctr"/>
            <a:r>
              <a:rPr lang="en-US" b="1" dirty="0">
                <a:solidFill>
                  <a:srgbClr val="C00000"/>
                </a:solidFill>
              </a:rPr>
              <a:t>“Mark Revisions Complete” </a:t>
            </a:r>
            <a:r>
              <a:rPr lang="en-US" dirty="0"/>
              <a:t>to notify the administrator! </a:t>
            </a:r>
          </a:p>
        </p:txBody>
      </p:sp>
    </p:spTree>
    <p:extLst>
      <p:ext uri="{BB962C8B-B14F-4D97-AF65-F5344CB8AC3E}">
        <p14:creationId xmlns:p14="http://schemas.microsoft.com/office/powerpoint/2010/main" val="155014041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919956" y="1042735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Response Packag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2856961-B717-8531-C9BF-48D09424E6BC}"/>
              </a:ext>
            </a:extLst>
          </p:cNvPr>
          <p:cNvSpPr txBox="1">
            <a:spLocks/>
          </p:cNvSpPr>
          <p:nvPr/>
        </p:nvSpPr>
        <p:spPr>
          <a:xfrm>
            <a:off x="536872" y="1264188"/>
            <a:ext cx="8229600" cy="18109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en-US" sz="2000" dirty="0"/>
              <a:t>Reference board document for details on additional required information or modifica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Create new package within project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Follow instructions to update documents or upload additional information to package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Submit the new package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87278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A0B632-197C-3642-9A39-71AE845907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400" spc="300" dirty="0">
                <a:solidFill>
                  <a:srgbClr val="002060"/>
                </a:solidFill>
                <a:cs typeface="Arial"/>
              </a:rPr>
              <a:t>Response Package Documents</a:t>
            </a:r>
            <a:endParaRPr lang="en-US" sz="2400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D8AE27-03AD-A920-564C-71FCFD0116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18" t="13376" r="38525"/>
          <a:stretch/>
        </p:blipFill>
        <p:spPr>
          <a:xfrm>
            <a:off x="5099019" y="875162"/>
            <a:ext cx="5147803" cy="4844355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EB2C798-26F2-A697-8CF3-4966DFA8AC05}"/>
              </a:ext>
            </a:extLst>
          </p:cNvPr>
          <p:cNvSpPr txBox="1"/>
          <p:nvPr/>
        </p:nvSpPr>
        <p:spPr>
          <a:xfrm>
            <a:off x="171797" y="1475120"/>
            <a:ext cx="4362138" cy="9682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107000"/>
              </a:lnSpc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dates made to documents from </a:t>
            </a:r>
            <a:r>
              <a:rPr lang="en-US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vious packages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n-US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ing pencil icon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are tracked using version control.</a:t>
            </a:r>
            <a:endParaRPr lang="en-US" b="1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89F96099-98FC-9032-ADCE-D665DE3A2AB8}"/>
              </a:ext>
            </a:extLst>
          </p:cNvPr>
          <p:cNvCxnSpPr>
            <a:cxnSpLocks/>
          </p:cNvCxnSpPr>
          <p:nvPr/>
        </p:nvCxnSpPr>
        <p:spPr>
          <a:xfrm>
            <a:off x="4221018" y="2124364"/>
            <a:ext cx="5754255" cy="2697018"/>
          </a:xfrm>
          <a:prstGeom prst="straightConnector1">
            <a:avLst/>
          </a:prstGeom>
          <a:ln w="38100" cap="flat" cmpd="sng" algn="ctr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5439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7353737" y="989716"/>
            <a:ext cx="1954041" cy="1690245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9307778" y="2052490"/>
            <a:ext cx="1954041" cy="1690245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7416211" y="3115264"/>
            <a:ext cx="1954041" cy="1690245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9307778" y="4178038"/>
            <a:ext cx="1954041" cy="1690245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7910309" y="1466948"/>
            <a:ext cx="840895" cy="735783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9796935" y="2716145"/>
            <a:ext cx="975727" cy="400048"/>
          </a:xfrm>
          <a:prstGeom prst="rect">
            <a:avLst/>
          </a:prstGeom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/>
          </a:stretch>
        </p:blipFill>
        <p:spPr>
          <a:xfrm>
            <a:off x="7794145" y="3645093"/>
            <a:ext cx="1051984" cy="694309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>
            <a:fillRect/>
          </a:stretch>
        </p:blipFill>
        <p:spPr>
          <a:xfrm>
            <a:off x="9841333" y="4657630"/>
            <a:ext cx="899468" cy="773543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8BD3676-1157-F507-7C16-3A94D971E153}"/>
              </a:ext>
            </a:extLst>
          </p:cNvPr>
          <p:cNvSpPr txBox="1">
            <a:spLocks/>
          </p:cNvSpPr>
          <p:nvPr/>
        </p:nvSpPr>
        <p:spPr>
          <a:xfrm>
            <a:off x="598041" y="375718"/>
            <a:ext cx="10515600" cy="499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spc="300" dirty="0">
                <a:solidFill>
                  <a:srgbClr val="002060"/>
                </a:solidFill>
                <a:latin typeface="+mn-lt"/>
                <a:cs typeface="Arial"/>
              </a:rPr>
              <a:t>VAIRRS Resources</a:t>
            </a:r>
            <a:endParaRPr lang="en-US" sz="2400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9B0DE3-A39D-2985-0015-517BCAD75D03}"/>
              </a:ext>
            </a:extLst>
          </p:cNvPr>
          <p:cNvSpPr txBox="1"/>
          <p:nvPr/>
        </p:nvSpPr>
        <p:spPr>
          <a:xfrm>
            <a:off x="642850" y="1043731"/>
            <a:ext cx="6594721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corded training videos are available on the VAIRRS SharePoint portal. The training videos are categorized by role (e.g., researcher, administrator, committee member perspectives).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raining energizers are available on the </a:t>
            </a:r>
            <a:r>
              <a:rPr lang="en-US" sz="1600" dirty="0">
                <a:hlinkClick r:id="rId19"/>
              </a:rPr>
              <a:t>VAIRRS SharePoint portal</a:t>
            </a:r>
            <a:r>
              <a:rPr lang="en-US" sz="1600" dirty="0"/>
              <a:t>. The energizers, which serve as guides for the end-user, are also categorized by r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nswers to Frequently Asked Questions (FAQs) about VAIRRS are available on the </a:t>
            </a:r>
            <a:r>
              <a:rPr lang="en-US" sz="1600" dirty="0">
                <a:hlinkClick r:id="rId20"/>
              </a:rPr>
              <a:t>VAIRRS website</a:t>
            </a:r>
            <a:r>
              <a:rPr lang="en-US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VAIRRS Newsletter is published bi-monthly. A VAIRRS Program Update is published on the alternative months. Any user can subscribe to the publications. Subscribe </a:t>
            </a:r>
            <a:r>
              <a:rPr lang="en-US" sz="1600" dirty="0">
                <a:hlinkClick r:id="rId21"/>
              </a:rPr>
              <a:t>here</a:t>
            </a:r>
            <a:r>
              <a:rPr lang="en-US" sz="1600" dirty="0"/>
              <a:t>: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act the VAIRRS Support Team at </a:t>
            </a:r>
            <a:r>
              <a:rPr lang="en-US" sz="1600" dirty="0">
                <a:hlinkClick r:id="rId22"/>
              </a:rPr>
              <a:t>VAIRRS@VA.gov</a:t>
            </a:r>
            <a:r>
              <a:rPr lang="en-US" sz="1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1906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icture containing letter&#10;&#10;Description automatically generated">
            <a:extLst>
              <a:ext uri="{FF2B5EF4-FFF2-40B4-BE49-F238E27FC236}">
                <a16:creationId xmlns:a16="http://schemas.microsoft.com/office/drawing/2014/main" id="{45820935-34BA-7D46-A2CD-17E33845080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3" r="24070" b="35628"/>
          <a:stretch/>
        </p:blipFill>
        <p:spPr>
          <a:xfrm>
            <a:off x="6325849" y="0"/>
            <a:ext cx="5866150" cy="6858000"/>
          </a:xfrm>
          <a:custGeom>
            <a:avLst/>
            <a:gdLst>
              <a:gd name="T0" fmla="*/ 0 w 2828140"/>
              <a:gd name="T1" fmla="*/ 0 h 3298976"/>
              <a:gd name="T2" fmla="*/ 2828140 w 2828140"/>
              <a:gd name="T3" fmla="*/ 0 h 3298976"/>
              <a:gd name="T4" fmla="*/ 2828140 w 2828140"/>
              <a:gd name="T5" fmla="*/ 3298976 h 3298976"/>
              <a:gd name="T6" fmla="*/ 0 w 2828140"/>
              <a:gd name="T7" fmla="*/ 3298976 h 329897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828140" h="3298976">
                <a:moveTo>
                  <a:pt x="0" y="0"/>
                </a:moveTo>
                <a:lnTo>
                  <a:pt x="2828140" y="0"/>
                </a:lnTo>
                <a:lnTo>
                  <a:pt x="2828140" y="3298976"/>
                </a:lnTo>
                <a:lnTo>
                  <a:pt x="0" y="3298976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3"/>
            <a:srcRect/>
            <a:tile tx="0" ty="0" sx="100000" sy="100000" flip="none" algn="tl"/>
          </a:blipFill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48DF553-C191-334D-8C36-59F86A4C4948}"/>
              </a:ext>
            </a:extLst>
          </p:cNvPr>
          <p:cNvSpPr txBox="1">
            <a:spLocks/>
          </p:cNvSpPr>
          <p:nvPr/>
        </p:nvSpPr>
        <p:spPr>
          <a:xfrm>
            <a:off x="407763" y="1350376"/>
            <a:ext cx="5524893" cy="35633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3E7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1" spc="300" dirty="0">
                <a:latin typeface="+mn-lt"/>
              </a:rPr>
              <a:t>QUESTIONS </a:t>
            </a:r>
          </a:p>
          <a:p>
            <a:pPr algn="ctr"/>
            <a:r>
              <a:rPr lang="en-US" sz="5400" b="1" spc="300" dirty="0">
                <a:latin typeface="+mn-lt"/>
              </a:rPr>
              <a:t>&amp; </a:t>
            </a:r>
            <a:endParaRPr lang="en-US" sz="5400" b="1" spc="300" dirty="0">
              <a:latin typeface="+mn-lt"/>
              <a:cs typeface="Calibri"/>
            </a:endParaRPr>
          </a:p>
          <a:p>
            <a:pPr algn="ctr"/>
            <a:r>
              <a:rPr lang="en-US" sz="5400" b="1" spc="300" dirty="0">
                <a:latin typeface="+mn-lt"/>
              </a:rPr>
              <a:t>COMMENTS </a:t>
            </a:r>
            <a:endParaRPr lang="en-US" sz="5400" b="1" spc="300" dirty="0">
              <a:latin typeface="+mn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844440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9386B-5797-FD3C-521A-FBF1B2B63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s</a:t>
            </a:r>
          </a:p>
        </p:txBody>
      </p:sp>
      <p:grpSp>
        <p:nvGrpSpPr>
          <p:cNvPr id="7" name="Group 3">
            <a:extLst>
              <a:ext uri="{FF2B5EF4-FFF2-40B4-BE49-F238E27FC236}">
                <a16:creationId xmlns:a16="http://schemas.microsoft.com/office/drawing/2014/main" id="{1EFD7248-14D0-D2BD-4AE8-4DC69C2252A3}"/>
              </a:ext>
            </a:extLst>
          </p:cNvPr>
          <p:cNvGrpSpPr/>
          <p:nvPr/>
        </p:nvGrpSpPr>
        <p:grpSpPr>
          <a:xfrm>
            <a:off x="919716" y="1598855"/>
            <a:ext cx="3292187" cy="709682"/>
            <a:chOff x="225682" y="379556"/>
            <a:chExt cx="6584373" cy="1419364"/>
          </a:xfrm>
        </p:grpSpPr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5BC00438-1677-4D0A-8D74-8586EC90A664}"/>
                </a:ext>
              </a:extLst>
            </p:cNvPr>
            <p:cNvSpPr txBox="1"/>
            <p:nvPr/>
          </p:nvSpPr>
          <p:spPr>
            <a:xfrm>
              <a:off x="239840" y="1086418"/>
              <a:ext cx="6344529" cy="71250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en-US" sz="2000" spc="20" dirty="0">
                  <a:solidFill>
                    <a:srgbClr val="003E73"/>
                  </a:solidFill>
                  <a:latin typeface="Calibri "/>
                  <a:hlinkClick r:id="rId2"/>
                </a:rPr>
                <a:t>VAIRRS@va.gov</a:t>
              </a:r>
              <a:r>
                <a:rPr lang="en-US" sz="2000" spc="20" dirty="0">
                  <a:solidFill>
                    <a:srgbClr val="003E73"/>
                  </a:solidFill>
                  <a:latin typeface="Calibri "/>
                </a:rPr>
                <a:t> </a:t>
              </a:r>
            </a:p>
          </p:txBody>
        </p:sp>
        <p:sp>
          <p:nvSpPr>
            <p:cNvPr id="9" name="TextBox 5">
              <a:extLst>
                <a:ext uri="{FF2B5EF4-FFF2-40B4-BE49-F238E27FC236}">
                  <a16:creationId xmlns:a16="http://schemas.microsoft.com/office/drawing/2014/main" id="{E5D4B193-E0DF-E543-48F1-4C3BBC08DD6A}"/>
                </a:ext>
              </a:extLst>
            </p:cNvPr>
            <p:cNvSpPr txBox="1"/>
            <p:nvPr/>
          </p:nvSpPr>
          <p:spPr>
            <a:xfrm>
              <a:off x="225682" y="379556"/>
              <a:ext cx="6584373" cy="70686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60"/>
                </a:lnSpc>
              </a:pPr>
              <a:r>
                <a:rPr lang="en-US" sz="2200" b="1" spc="198" dirty="0">
                  <a:solidFill>
                    <a:schemeClr val="accent1">
                      <a:lumMod val="50000"/>
                    </a:schemeClr>
                  </a:solidFill>
                  <a:latin typeface="Calibri "/>
                </a:rPr>
                <a:t>VAIRRS Support Team</a:t>
              </a:r>
            </a:p>
          </p:txBody>
        </p:sp>
      </p:grpSp>
      <p:grpSp>
        <p:nvGrpSpPr>
          <p:cNvPr id="10" name="Group 3">
            <a:extLst>
              <a:ext uri="{FF2B5EF4-FFF2-40B4-BE49-F238E27FC236}">
                <a16:creationId xmlns:a16="http://schemas.microsoft.com/office/drawing/2014/main" id="{536CB65F-B376-AA41-C44A-73DA30B06EED}"/>
              </a:ext>
            </a:extLst>
          </p:cNvPr>
          <p:cNvGrpSpPr/>
          <p:nvPr/>
        </p:nvGrpSpPr>
        <p:grpSpPr>
          <a:xfrm>
            <a:off x="6590607" y="1598855"/>
            <a:ext cx="3292186" cy="709681"/>
            <a:chOff x="0" y="379558"/>
            <a:chExt cx="6584371" cy="1419362"/>
          </a:xfrm>
        </p:grpSpPr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7841D5EE-0203-A58E-DA5D-616E22F02EDF}"/>
                </a:ext>
              </a:extLst>
            </p:cNvPr>
            <p:cNvSpPr txBox="1"/>
            <p:nvPr/>
          </p:nvSpPr>
          <p:spPr>
            <a:xfrm>
              <a:off x="0" y="1086418"/>
              <a:ext cx="6344529" cy="71250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000"/>
                </a:lnSpc>
              </a:pPr>
              <a:r>
                <a:rPr lang="en-US" sz="2000" spc="20" dirty="0">
                  <a:solidFill>
                    <a:srgbClr val="003E73"/>
                  </a:solidFill>
                  <a:latin typeface="Calibri "/>
                  <a:hlinkClick r:id="rId3"/>
                </a:rPr>
                <a:t>govsupport@irbnet.org</a:t>
              </a:r>
              <a:r>
                <a:rPr lang="en-US" sz="2000" spc="20" dirty="0">
                  <a:solidFill>
                    <a:srgbClr val="003E73"/>
                  </a:solidFill>
                  <a:latin typeface="Calibri "/>
                </a:rPr>
                <a:t> </a:t>
              </a:r>
            </a:p>
          </p:txBody>
        </p:sp>
        <p:sp>
          <p:nvSpPr>
            <p:cNvPr id="12" name="TextBox 5">
              <a:extLst>
                <a:ext uri="{FF2B5EF4-FFF2-40B4-BE49-F238E27FC236}">
                  <a16:creationId xmlns:a16="http://schemas.microsoft.com/office/drawing/2014/main" id="{B187E96B-9FC5-9C5E-AA05-8D8EFAA27163}"/>
                </a:ext>
              </a:extLst>
            </p:cNvPr>
            <p:cNvSpPr txBox="1"/>
            <p:nvPr/>
          </p:nvSpPr>
          <p:spPr>
            <a:xfrm>
              <a:off x="239842" y="379558"/>
              <a:ext cx="6344529" cy="70686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60"/>
                </a:lnSpc>
              </a:pPr>
              <a:r>
                <a:rPr lang="en-US" sz="2200" b="1" spc="198" dirty="0">
                  <a:solidFill>
                    <a:schemeClr val="accent1">
                      <a:lumMod val="50000"/>
                    </a:schemeClr>
                  </a:solidFill>
                  <a:latin typeface="Calibri "/>
                </a:rPr>
                <a:t>IRBNet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F748D23-0055-700A-541C-B36874C8424E}"/>
              </a:ext>
            </a:extLst>
          </p:cNvPr>
          <p:cNvGrpSpPr/>
          <p:nvPr/>
        </p:nvGrpSpPr>
        <p:grpSpPr>
          <a:xfrm>
            <a:off x="1651409" y="2556164"/>
            <a:ext cx="1828800" cy="1828800"/>
            <a:chOff x="1651409" y="2588029"/>
            <a:chExt cx="1828800" cy="18288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AE7C5301-974D-FED8-AE57-E9300AED678C}"/>
                </a:ext>
              </a:extLst>
            </p:cNvPr>
            <p:cNvSpPr/>
            <p:nvPr/>
          </p:nvSpPr>
          <p:spPr>
            <a:xfrm>
              <a:off x="1651409" y="2588029"/>
              <a:ext cx="1828800" cy="182880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phic 13" descr="Open envelope with solid fill">
              <a:extLst>
                <a:ext uri="{FF2B5EF4-FFF2-40B4-BE49-F238E27FC236}">
                  <a16:creationId xmlns:a16="http://schemas.microsoft.com/office/drawing/2014/main" id="{890D3970-695C-3F56-56D5-AFC135CE9D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108609" y="3045229"/>
              <a:ext cx="914400" cy="914400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277F74F-8E65-EA3E-0AF4-E3F68DF681BF}"/>
              </a:ext>
            </a:extLst>
          </p:cNvPr>
          <p:cNvGrpSpPr/>
          <p:nvPr/>
        </p:nvGrpSpPr>
        <p:grpSpPr>
          <a:xfrm>
            <a:off x="7322300" y="2556164"/>
            <a:ext cx="1828800" cy="1828800"/>
            <a:chOff x="7322300" y="2556164"/>
            <a:chExt cx="1828800" cy="18288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C8605A8B-01F5-7203-19E7-4E39195EE42B}"/>
                </a:ext>
              </a:extLst>
            </p:cNvPr>
            <p:cNvSpPr/>
            <p:nvPr/>
          </p:nvSpPr>
          <p:spPr>
            <a:xfrm>
              <a:off x="7322300" y="2556164"/>
              <a:ext cx="1828800" cy="182880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8546743-D97A-AF96-2883-295BCF21060A}"/>
                </a:ext>
              </a:extLst>
            </p:cNvPr>
            <p:cNvGrpSpPr/>
            <p:nvPr/>
          </p:nvGrpSpPr>
          <p:grpSpPr>
            <a:xfrm>
              <a:off x="7501716" y="2871797"/>
              <a:ext cx="1469968" cy="1197535"/>
              <a:chOff x="7412183" y="2814741"/>
              <a:chExt cx="1469968" cy="1197535"/>
            </a:xfrm>
          </p:grpSpPr>
          <p:pic>
            <p:nvPicPr>
              <p:cNvPr id="16" name="Graphic 15" descr="Single gear with solid fill">
                <a:extLst>
                  <a:ext uri="{FF2B5EF4-FFF2-40B4-BE49-F238E27FC236}">
                    <a16:creationId xmlns:a16="http://schemas.microsoft.com/office/drawing/2014/main" id="{A424357A-F08A-10A2-452F-9D0CC89253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412183" y="299208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7" name="Graphic 16" descr="Single gear with solid fill">
                <a:extLst>
                  <a:ext uri="{FF2B5EF4-FFF2-40B4-BE49-F238E27FC236}">
                    <a16:creationId xmlns:a16="http://schemas.microsoft.com/office/drawing/2014/main" id="{44ABE15F-5EEF-CB5D-D9FA-165D48A083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74183" y="2814741"/>
                <a:ext cx="707968" cy="707968"/>
              </a:xfrm>
              <a:prstGeom prst="rect">
                <a:avLst/>
              </a:prstGeom>
            </p:spPr>
          </p:pic>
          <p:pic>
            <p:nvPicPr>
              <p:cNvPr id="18" name="Graphic 17" descr="Single gear with solid fill">
                <a:extLst>
                  <a:ext uri="{FF2B5EF4-FFF2-40B4-BE49-F238E27FC236}">
                    <a16:creationId xmlns:a16="http://schemas.microsoft.com/office/drawing/2014/main" id="{D8EDA670-3C98-F00E-80A1-FE100B8490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74183" y="3471256"/>
                <a:ext cx="541020" cy="541020"/>
              </a:xfrm>
              <a:prstGeom prst="rect">
                <a:avLst/>
              </a:prstGeom>
            </p:spPr>
          </p:pic>
        </p:grpSp>
      </p:grpSp>
      <p:sp>
        <p:nvSpPr>
          <p:cNvPr id="24" name="TextBox 5">
            <a:extLst>
              <a:ext uri="{FF2B5EF4-FFF2-40B4-BE49-F238E27FC236}">
                <a16:creationId xmlns:a16="http://schemas.microsoft.com/office/drawing/2014/main" id="{E533CDCB-366E-4835-B132-B57DACDE209D}"/>
              </a:ext>
            </a:extLst>
          </p:cNvPr>
          <p:cNvSpPr txBox="1"/>
          <p:nvPr/>
        </p:nvSpPr>
        <p:spPr>
          <a:xfrm>
            <a:off x="723595" y="4563873"/>
            <a:ext cx="4134732" cy="10972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60"/>
              </a:lnSpc>
            </a:pP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Calibri "/>
              </a:rPr>
              <a:t>Questions related to VAIRRS program, resources, training, and VA processes</a:t>
            </a: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CA6C86B9-5A8E-4514-BF18-DF69F80AD76D}"/>
              </a:ext>
            </a:extLst>
          </p:cNvPr>
          <p:cNvSpPr txBox="1"/>
          <p:nvPr/>
        </p:nvSpPr>
        <p:spPr>
          <a:xfrm>
            <a:off x="6196350" y="4562303"/>
            <a:ext cx="4134732" cy="3534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60"/>
              </a:lnSpc>
            </a:pPr>
            <a:r>
              <a:rPr lang="en-US" sz="2200" b="1" dirty="0">
                <a:solidFill>
                  <a:schemeClr val="accent1">
                    <a:lumMod val="50000"/>
                  </a:schemeClr>
                </a:solidFill>
                <a:latin typeface="Calibri "/>
              </a:rPr>
              <a:t>Technical assistance, account issues</a:t>
            </a:r>
          </a:p>
        </p:txBody>
      </p:sp>
    </p:spTree>
    <p:extLst>
      <p:ext uri="{BB962C8B-B14F-4D97-AF65-F5344CB8AC3E}">
        <p14:creationId xmlns:p14="http://schemas.microsoft.com/office/powerpoint/2010/main" val="414739798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9386B-5797-FD3C-521A-FBF1B2B63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982" y="542841"/>
            <a:ext cx="9152782" cy="752929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103D274-D8DB-4CD0-B1B5-B3657A5C85EE}"/>
              </a:ext>
            </a:extLst>
          </p:cNvPr>
          <p:cNvSpPr txBox="1"/>
          <p:nvPr/>
        </p:nvSpPr>
        <p:spPr>
          <a:xfrm>
            <a:off x="350982" y="1295770"/>
            <a:ext cx="103946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VAIRRS Website: </a:t>
            </a:r>
            <a:r>
              <a:rPr lang="en-US" sz="1600" dirty="0">
                <a:hlinkClick r:id="rId2"/>
              </a:rPr>
              <a:t>https://www.research.va.gov/programs/orppe/vairrs/default.cfm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VAIRRS SharePoint: </a:t>
            </a:r>
            <a:r>
              <a:rPr lang="en-US" sz="1600" dirty="0">
                <a:hlinkClick r:id="rId3"/>
              </a:rPr>
              <a:t>https://dvagov.sharepoint.com/sites/VHAORPPE/VAIRRS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VAIRRS Webinar Archive: </a:t>
            </a:r>
            <a:r>
              <a:rPr lang="en-US" sz="1600" dirty="0">
                <a:hlinkClick r:id="rId4"/>
              </a:rPr>
              <a:t>https://www.research.va.gov/programs/orppe/education/webinars/archives.cfm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VAIRRS Support Team: </a:t>
            </a:r>
            <a:r>
              <a:rPr lang="en-US" sz="1600" dirty="0">
                <a:hlinkClick r:id="rId5"/>
              </a:rPr>
              <a:t>VAIRRS@va.gov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VAIRRS Newsletter Subscription: </a:t>
            </a:r>
            <a:r>
              <a:rPr lang="en-US" sz="1600" dirty="0">
                <a:hlinkClick r:id="rId6"/>
              </a:rPr>
              <a:t>https://public.govdelivery.com/accounts/USVHA/subscriber/new?topic_id=USVHA_1952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49824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7497D-B5FB-8342-B87B-CDFA4F6A06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8871" y="2246112"/>
            <a:ext cx="9097758" cy="875609"/>
          </a:xfrm>
        </p:spPr>
        <p:txBody>
          <a:bodyPr lIns="91440" tIns="45720" rIns="91440" bIns="45720" anchor="ctr">
            <a:noAutofit/>
          </a:bodyPr>
          <a:lstStyle/>
          <a:p>
            <a:pPr algn="r"/>
            <a:r>
              <a:rPr lang="en-US" sz="4800" dirty="0">
                <a:cs typeface="Calibri"/>
              </a:rPr>
              <a:t>IRBNet Basics for Investigato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E600AA-50D8-B24B-A422-018B17C7CB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00001" y="3517844"/>
            <a:ext cx="8306628" cy="1432529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200" b="1" dirty="0"/>
              <a:t>Angela Foster</a:t>
            </a:r>
            <a:endParaRPr lang="en-US" sz="2200" b="1" dirty="0">
              <a:cs typeface="Calibri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/>
              <a:t>Program Manager, Enterprise Research Data Systems</a:t>
            </a:r>
            <a:endParaRPr lang="en-US" sz="2000" dirty="0">
              <a:cs typeface="Calibri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en-US" sz="2000" dirty="0"/>
              <a:t>Office of Research Protections, Policy, and Education (ORPP&amp;E)</a:t>
            </a:r>
            <a:endParaRPr lang="en-US" sz="2000" dirty="0">
              <a:cs typeface="Calibri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endParaRPr lang="en-US" sz="2000" dirty="0">
              <a:cs typeface="Calibri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endParaRPr lang="en-US" sz="2200" b="1" dirty="0">
              <a:cs typeface="Calibri" panose="020F0502020204030204"/>
            </a:endParaRPr>
          </a:p>
          <a:p>
            <a:pPr algn="r">
              <a:lnSpc>
                <a:spcPct val="100000"/>
              </a:lnSpc>
              <a:spcBef>
                <a:spcPts val="0"/>
              </a:spcBef>
            </a:pPr>
            <a:br>
              <a:rPr lang="en-US" sz="2000" dirty="0">
                <a:cs typeface="Calibri" panose="020F0502020204030204"/>
              </a:rPr>
            </a:br>
            <a:br>
              <a:rPr lang="en-US" sz="2000" dirty="0">
                <a:ea typeface="+mn-lt"/>
                <a:cs typeface="+mn-lt"/>
              </a:rPr>
            </a:br>
            <a:endParaRPr lang="en-US" sz="2000" dirty="0">
              <a:ea typeface="+mn-lt"/>
              <a:cs typeface="+mn-lt"/>
            </a:endParaRPr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46D840B-B2CF-414E-B572-5B25AA086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141" y="2725599"/>
            <a:ext cx="3997808" cy="318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787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User Profil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My Projects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Project vs 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Creating a New Project/Packa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i="1" dirty="0"/>
              <a:t>Revising a Package/Response Package</a:t>
            </a:r>
          </a:p>
          <a:p>
            <a:endParaRPr lang="en-US" sz="1800" i="1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/>
              <a:t>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76844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What is VAIRRS? 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C5E7A-2B83-4A01-A657-5B4C2991146B}"/>
              </a:ext>
            </a:extLst>
          </p:cNvPr>
          <p:cNvSpPr txBox="1"/>
          <p:nvPr/>
        </p:nvSpPr>
        <p:spPr>
          <a:xfrm>
            <a:off x="404145" y="1253354"/>
            <a:ext cx="6691684" cy="156675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endParaRPr lang="en-US">
              <a:solidFill>
                <a:srgbClr val="000000"/>
              </a:solidFill>
              <a:highlight>
                <a:srgbClr val="FFFF00"/>
              </a:highlight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28">
            <a:extLst>
              <a:ext uri="{FF2B5EF4-FFF2-40B4-BE49-F238E27FC236}">
                <a16:creationId xmlns:a16="http://schemas.microsoft.com/office/drawing/2014/main" id="{9ACD43C5-A73F-410E-8659-C063C1F6C1B2}"/>
              </a:ext>
            </a:extLst>
          </p:cNvPr>
          <p:cNvCxnSpPr>
            <a:cxnSpLocks/>
          </p:cNvCxnSpPr>
          <p:nvPr/>
        </p:nvCxnSpPr>
        <p:spPr>
          <a:xfrm>
            <a:off x="-7036" y="1476343"/>
            <a:ext cx="557003" cy="0"/>
          </a:xfrm>
          <a:prstGeom prst="straightConnector1">
            <a:avLst/>
          </a:prstGeom>
          <a:noFill/>
          <a:ln w="19050" cap="flat" cmpd="sng" algn="ctr">
            <a:solidFill>
              <a:srgbClr val="4472C4"/>
            </a:solidFill>
            <a:prstDash val="solid"/>
            <a:round/>
            <a:tailEnd type="oval" w="med" len="med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76A7E85-8048-40BF-904E-EE53DEE5285A}"/>
              </a:ext>
            </a:extLst>
          </p:cNvPr>
          <p:cNvSpPr txBox="1"/>
          <p:nvPr/>
        </p:nvSpPr>
        <p:spPr>
          <a:xfrm>
            <a:off x="600714" y="1274523"/>
            <a:ext cx="9197221" cy="14773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dirty="0">
                <a:ea typeface="+mn-lt"/>
                <a:cs typeface="+mn-lt"/>
              </a:rPr>
              <a:t>VA Innovation Research Review System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IRBNet: </a:t>
            </a:r>
            <a:r>
              <a:rPr lang="en-US" dirty="0">
                <a:ea typeface="+mn-lt"/>
                <a:cs typeface="+mn-lt"/>
                <a:hlinkClick r:id="rId4"/>
              </a:rPr>
              <a:t>https://gov.irbnet.org/release/index.html</a:t>
            </a:r>
            <a:r>
              <a:rPr lang="en-US" dirty="0">
                <a:ea typeface="+mn-lt"/>
                <a:cs typeface="+mn-lt"/>
              </a:rPr>
              <a:t>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VAIRRS Website: </a:t>
            </a:r>
            <a:r>
              <a:rPr lang="en-US" dirty="0">
                <a:ea typeface="+mn-lt"/>
                <a:cs typeface="+mn-lt"/>
                <a:hlinkClick r:id="rId5"/>
              </a:rPr>
              <a:t>https://www.research.va.gov/programs/orppe/vairrs/default.cfm</a:t>
            </a:r>
            <a:r>
              <a:rPr lang="en-US" dirty="0">
                <a:ea typeface="+mn-lt"/>
                <a:cs typeface="+mn-lt"/>
              </a:rPr>
              <a:t>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VAIRRS SharePoint Portal: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s://dvagov.sharepoint.com/sites/VHAORPPE/VAIRRS</a:t>
            </a:r>
            <a:endParaRPr lang="en-US" dirty="0">
              <a:ea typeface="+mn-lt"/>
              <a:cs typeface="+mn-lt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Power BI Dashboards</a:t>
            </a:r>
            <a:endParaRPr lang="en-US" dirty="0">
              <a:cs typeface="Calibr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073E03-411F-1CE2-9FE9-C71CDB0CFB3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166" t="17216" r="9444"/>
          <a:stretch/>
        </p:blipFill>
        <p:spPr>
          <a:xfrm>
            <a:off x="744916" y="2917877"/>
            <a:ext cx="3316517" cy="19160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80B7EB6-0D29-EDD8-975B-602FB03CDD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58598" y="3267346"/>
            <a:ext cx="3678002" cy="1857119"/>
          </a:xfrm>
          <a:prstGeom prst="rect">
            <a:avLst/>
          </a:prstGeom>
          <a:ln>
            <a:solidFill>
              <a:srgbClr val="003399"/>
            </a:solidFill>
          </a:ln>
        </p:spPr>
      </p:pic>
      <p:pic>
        <p:nvPicPr>
          <p:cNvPr id="19" name="Content Placeholder 4">
            <a:extLst>
              <a:ext uri="{FF2B5EF4-FFF2-40B4-BE49-F238E27FC236}">
                <a16:creationId xmlns:a16="http://schemas.microsoft.com/office/drawing/2014/main" id="{F13F83B5-7A05-C828-5D33-09BABF2F98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990955" y="4165881"/>
            <a:ext cx="3099803" cy="1626601"/>
          </a:xfrm>
          <a:prstGeom prst="rect">
            <a:avLst/>
          </a:prstGeom>
          <a:noFill/>
          <a:ln w="9525">
            <a:solidFill>
              <a:srgbClr val="003399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1277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7ACB91F-E773-433A-9CD7-5A2BA832B5F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542841"/>
            <a:ext cx="8665564" cy="75292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RBNet Basics for Investigator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5A1997E-0B8D-40E9-AB7A-0157613DAC45}"/>
              </a:ext>
            </a:extLst>
          </p:cNvPr>
          <p:cNvSpPr txBox="1">
            <a:spLocks/>
          </p:cNvSpPr>
          <p:nvPr/>
        </p:nvSpPr>
        <p:spPr>
          <a:xfrm>
            <a:off x="425245" y="1373830"/>
            <a:ext cx="10515600" cy="42479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Wingdings" panose="05000000000000000000" pitchFamily="2" charset="2"/>
              <a:buChar char="q"/>
            </a:pPr>
            <a:r>
              <a:rPr lang="en-US" i="1" dirty="0"/>
              <a:t>Accessing and Enrolling in IRBNet</a:t>
            </a:r>
          </a:p>
          <a:p>
            <a:endParaRPr lang="en-US" sz="1800" i="1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/>
              <a:t>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8720302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362C75FB-440A-466D-911B-75C822380325}"/>
              </a:ext>
            </a:extLst>
          </p:cNvPr>
          <p:cNvGrpSpPr/>
          <p:nvPr/>
        </p:nvGrpSpPr>
        <p:grpSpPr>
          <a:xfrm>
            <a:off x="6797407" y="1055843"/>
            <a:ext cx="6538334" cy="4772529"/>
            <a:chOff x="6973364" y="1996697"/>
            <a:chExt cx="5816169" cy="4772529"/>
          </a:xfrm>
        </p:grpSpPr>
        <p:pic>
          <p:nvPicPr>
            <p:cNvPr id="36" name="Picture 35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CB5172F8-26E2-41CB-AF85-D4DF2FDCF0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b="15233"/>
            <a:stretch/>
          </p:blipFill>
          <p:spPr>
            <a:xfrm>
              <a:off x="8362747" y="1996697"/>
              <a:ext cx="4426786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8" name="Picture 37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B9382D72-96DC-42D1-843B-8C49F9DA93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6973364" y="2003071"/>
              <a:ext cx="1422823" cy="4766155"/>
            </a:xfrm>
            <a:prstGeom prst="rect">
              <a:avLst/>
            </a:prstGeom>
            <a:effectLst>
              <a:outerShdw blurRad="139700" dist="50800" dir="5400000" algn="ctr" rotWithShape="0">
                <a:srgbClr val="003F72">
                  <a:alpha val="84000"/>
                </a:srgbClr>
              </a:outerShdw>
            </a:effectLst>
          </p:spPr>
        </p:pic>
        <p:pic>
          <p:nvPicPr>
            <p:cNvPr id="39" name="Picture 38" descr="A white cross with a black background&#10;&#10;Description automatically generated with medium confidence">
              <a:extLst>
                <a:ext uri="{FF2B5EF4-FFF2-40B4-BE49-F238E27FC236}">
                  <a16:creationId xmlns:a16="http://schemas.microsoft.com/office/drawing/2014/main" id="{92557232-7913-4081-B268-683384052D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268" r="66720" b="15233"/>
            <a:stretch/>
          </p:blipFill>
          <p:spPr>
            <a:xfrm>
              <a:off x="7452661" y="2003071"/>
              <a:ext cx="1636870" cy="4766155"/>
            </a:xfrm>
            <a:prstGeom prst="rect">
              <a:avLst/>
            </a:prstGeom>
            <a:effectLst/>
          </p:spPr>
        </p:pic>
      </p:grpSp>
      <p:sp>
        <p:nvSpPr>
          <p:cNvPr id="24" name="Rectangle 2">
            <a:extLst>
              <a:ext uri="{FF2B5EF4-FFF2-40B4-BE49-F238E27FC236}">
                <a16:creationId xmlns:a16="http://schemas.microsoft.com/office/drawing/2014/main" id="{B587D041-965B-4852-BF78-2D8657BB8090}"/>
              </a:ext>
            </a:extLst>
          </p:cNvPr>
          <p:cNvSpPr/>
          <p:nvPr/>
        </p:nvSpPr>
        <p:spPr>
          <a:xfrm>
            <a:off x="-9518" y="-143219"/>
            <a:ext cx="10919864" cy="6070291"/>
          </a:xfrm>
          <a:custGeom>
            <a:avLst/>
            <a:gdLst>
              <a:gd name="connsiteX0" fmla="*/ 0 w 3212941"/>
              <a:gd name="connsiteY0" fmla="*/ 0 h 3848100"/>
              <a:gd name="connsiteX1" fmla="*/ 3212941 w 3212941"/>
              <a:gd name="connsiteY1" fmla="*/ 0 h 3848100"/>
              <a:gd name="connsiteX2" fmla="*/ 3212941 w 3212941"/>
              <a:gd name="connsiteY2" fmla="*/ 3848100 h 3848100"/>
              <a:gd name="connsiteX3" fmla="*/ 0 w 3212941"/>
              <a:gd name="connsiteY3" fmla="*/ 3848100 h 3848100"/>
              <a:gd name="connsiteX4" fmla="*/ 0 w 3212941"/>
              <a:gd name="connsiteY4" fmla="*/ 0 h 3848100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3848100 h 6124575"/>
              <a:gd name="connsiteX4" fmla="*/ 0 w 3212941"/>
              <a:gd name="connsiteY4" fmla="*/ 0 h 6124575"/>
              <a:gd name="connsiteX0" fmla="*/ 0 w 3212941"/>
              <a:gd name="connsiteY0" fmla="*/ 0 h 6124575"/>
              <a:gd name="connsiteX1" fmla="*/ 3212941 w 3212941"/>
              <a:gd name="connsiteY1" fmla="*/ 0 h 6124575"/>
              <a:gd name="connsiteX2" fmla="*/ 2850991 w 3212941"/>
              <a:gd name="connsiteY2" fmla="*/ 6124575 h 6124575"/>
              <a:gd name="connsiteX3" fmla="*/ 0 w 3212941"/>
              <a:gd name="connsiteY3" fmla="*/ 6096000 h 6124575"/>
              <a:gd name="connsiteX4" fmla="*/ 0 w 3212941"/>
              <a:gd name="connsiteY4" fmla="*/ 0 h 6124575"/>
              <a:gd name="connsiteX0" fmla="*/ 0 w 4794091"/>
              <a:gd name="connsiteY0" fmla="*/ 0 h 6124575"/>
              <a:gd name="connsiteX1" fmla="*/ 4794091 w 4794091"/>
              <a:gd name="connsiteY1" fmla="*/ 28575 h 6124575"/>
              <a:gd name="connsiteX2" fmla="*/ 2850991 w 4794091"/>
              <a:gd name="connsiteY2" fmla="*/ 6124575 h 6124575"/>
              <a:gd name="connsiteX3" fmla="*/ 0 w 4794091"/>
              <a:gd name="connsiteY3" fmla="*/ 6096000 h 6124575"/>
              <a:gd name="connsiteX4" fmla="*/ 0 w 4794091"/>
              <a:gd name="connsiteY4" fmla="*/ 0 h 6124575"/>
              <a:gd name="connsiteX0" fmla="*/ 0 w 4794091"/>
              <a:gd name="connsiteY0" fmla="*/ 0 h 6145096"/>
              <a:gd name="connsiteX1" fmla="*/ 4794091 w 4794091"/>
              <a:gd name="connsiteY1" fmla="*/ 28575 h 6145096"/>
              <a:gd name="connsiteX2" fmla="*/ 2850991 w 4794091"/>
              <a:gd name="connsiteY2" fmla="*/ 6124575 h 6145096"/>
              <a:gd name="connsiteX3" fmla="*/ 0 w 4794091"/>
              <a:gd name="connsiteY3" fmla="*/ 6145096 h 6145096"/>
              <a:gd name="connsiteX4" fmla="*/ 0 w 4794091"/>
              <a:gd name="connsiteY4" fmla="*/ 0 h 6145096"/>
              <a:gd name="connsiteX0" fmla="*/ 483704 w 4794091"/>
              <a:gd name="connsiteY0" fmla="*/ 4556 h 6116521"/>
              <a:gd name="connsiteX1" fmla="*/ 4794091 w 4794091"/>
              <a:gd name="connsiteY1" fmla="*/ 0 h 6116521"/>
              <a:gd name="connsiteX2" fmla="*/ 2850991 w 4794091"/>
              <a:gd name="connsiteY2" fmla="*/ 6096000 h 6116521"/>
              <a:gd name="connsiteX3" fmla="*/ 0 w 4794091"/>
              <a:gd name="connsiteY3" fmla="*/ 6116521 h 6116521"/>
              <a:gd name="connsiteX4" fmla="*/ 483704 w 4794091"/>
              <a:gd name="connsiteY4" fmla="*/ 4556 h 6116521"/>
              <a:gd name="connsiteX0" fmla="*/ 0 w 4310387"/>
              <a:gd name="connsiteY0" fmla="*/ 4556 h 6109894"/>
              <a:gd name="connsiteX1" fmla="*/ 4310387 w 4310387"/>
              <a:gd name="connsiteY1" fmla="*/ 0 h 6109894"/>
              <a:gd name="connsiteX2" fmla="*/ 2367287 w 4310387"/>
              <a:gd name="connsiteY2" fmla="*/ 6096000 h 6109894"/>
              <a:gd name="connsiteX3" fmla="*/ 6627 w 4310387"/>
              <a:gd name="connsiteY3" fmla="*/ 6109894 h 6109894"/>
              <a:gd name="connsiteX4" fmla="*/ 0 w 4310387"/>
              <a:gd name="connsiteY4" fmla="*/ 4556 h 6109894"/>
              <a:gd name="connsiteX0" fmla="*/ 0 w 4317013"/>
              <a:gd name="connsiteY0" fmla="*/ 11182 h 6109894"/>
              <a:gd name="connsiteX1" fmla="*/ 4317013 w 4317013"/>
              <a:gd name="connsiteY1" fmla="*/ 0 h 6109894"/>
              <a:gd name="connsiteX2" fmla="*/ 2373913 w 4317013"/>
              <a:gd name="connsiteY2" fmla="*/ 6096000 h 6109894"/>
              <a:gd name="connsiteX3" fmla="*/ 13253 w 4317013"/>
              <a:gd name="connsiteY3" fmla="*/ 6109894 h 6109894"/>
              <a:gd name="connsiteX4" fmla="*/ 0 w 4317013"/>
              <a:gd name="connsiteY4" fmla="*/ 11182 h 6109894"/>
              <a:gd name="connsiteX0" fmla="*/ 0 w 4327899"/>
              <a:gd name="connsiteY0" fmla="*/ 16625 h 6109894"/>
              <a:gd name="connsiteX1" fmla="*/ 4327899 w 4327899"/>
              <a:gd name="connsiteY1" fmla="*/ 0 h 6109894"/>
              <a:gd name="connsiteX2" fmla="*/ 2384799 w 4327899"/>
              <a:gd name="connsiteY2" fmla="*/ 6096000 h 6109894"/>
              <a:gd name="connsiteX3" fmla="*/ 24139 w 4327899"/>
              <a:gd name="connsiteY3" fmla="*/ 6109894 h 6109894"/>
              <a:gd name="connsiteX4" fmla="*/ 0 w 4327899"/>
              <a:gd name="connsiteY4" fmla="*/ 16625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5740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5740 h 6109894"/>
              <a:gd name="connsiteX0" fmla="*/ 0 w 4311570"/>
              <a:gd name="connsiteY0" fmla="*/ 16626 h 6109894"/>
              <a:gd name="connsiteX1" fmla="*/ 4311570 w 4311570"/>
              <a:gd name="connsiteY1" fmla="*/ 0 h 6109894"/>
              <a:gd name="connsiteX2" fmla="*/ 2368470 w 4311570"/>
              <a:gd name="connsiteY2" fmla="*/ 6096000 h 6109894"/>
              <a:gd name="connsiteX3" fmla="*/ 7810 w 4311570"/>
              <a:gd name="connsiteY3" fmla="*/ 6109894 h 6109894"/>
              <a:gd name="connsiteX4" fmla="*/ 0 w 4311570"/>
              <a:gd name="connsiteY4" fmla="*/ 16626 h 6109894"/>
              <a:gd name="connsiteX0" fmla="*/ 4077 w 4304761"/>
              <a:gd name="connsiteY0" fmla="*/ 16626 h 6109894"/>
              <a:gd name="connsiteX1" fmla="*/ 4304761 w 4304761"/>
              <a:gd name="connsiteY1" fmla="*/ 0 h 6109894"/>
              <a:gd name="connsiteX2" fmla="*/ 2361661 w 4304761"/>
              <a:gd name="connsiteY2" fmla="*/ 6096000 h 6109894"/>
              <a:gd name="connsiteX3" fmla="*/ 1001 w 4304761"/>
              <a:gd name="connsiteY3" fmla="*/ 6109894 h 6109894"/>
              <a:gd name="connsiteX4" fmla="*/ 4077 w 4304761"/>
              <a:gd name="connsiteY4" fmla="*/ 16626 h 6109894"/>
              <a:gd name="connsiteX0" fmla="*/ 0 w 4306127"/>
              <a:gd name="connsiteY0" fmla="*/ 16626 h 6109894"/>
              <a:gd name="connsiteX1" fmla="*/ 4306127 w 4306127"/>
              <a:gd name="connsiteY1" fmla="*/ 0 h 6109894"/>
              <a:gd name="connsiteX2" fmla="*/ 2363027 w 4306127"/>
              <a:gd name="connsiteY2" fmla="*/ 6096000 h 6109894"/>
              <a:gd name="connsiteX3" fmla="*/ 2367 w 4306127"/>
              <a:gd name="connsiteY3" fmla="*/ 6109894 h 6109894"/>
              <a:gd name="connsiteX4" fmla="*/ 0 w 4306127"/>
              <a:gd name="connsiteY4" fmla="*/ 16626 h 6109894"/>
              <a:gd name="connsiteX0" fmla="*/ 0 w 4332708"/>
              <a:gd name="connsiteY0" fmla="*/ 5994 h 6109894"/>
              <a:gd name="connsiteX1" fmla="*/ 4332708 w 4332708"/>
              <a:gd name="connsiteY1" fmla="*/ 0 h 6109894"/>
              <a:gd name="connsiteX2" fmla="*/ 2389608 w 4332708"/>
              <a:gd name="connsiteY2" fmla="*/ 6096000 h 6109894"/>
              <a:gd name="connsiteX3" fmla="*/ 28948 w 4332708"/>
              <a:gd name="connsiteY3" fmla="*/ 6109894 h 6109894"/>
              <a:gd name="connsiteX4" fmla="*/ 0 w 4332708"/>
              <a:gd name="connsiteY4" fmla="*/ 5994 h 6109894"/>
              <a:gd name="connsiteX0" fmla="*/ 0 w 4332708"/>
              <a:gd name="connsiteY0" fmla="*/ 5994 h 6096000"/>
              <a:gd name="connsiteX1" fmla="*/ 4332708 w 4332708"/>
              <a:gd name="connsiteY1" fmla="*/ 0 h 6096000"/>
              <a:gd name="connsiteX2" fmla="*/ 2389608 w 4332708"/>
              <a:gd name="connsiteY2" fmla="*/ 6096000 h 6096000"/>
              <a:gd name="connsiteX3" fmla="*/ 2367 w 4332708"/>
              <a:gd name="connsiteY3" fmla="*/ 6093945 h 6096000"/>
              <a:gd name="connsiteX4" fmla="*/ 0 w 4332708"/>
              <a:gd name="connsiteY4" fmla="*/ 5994 h 6096000"/>
              <a:gd name="connsiteX0" fmla="*/ 0 w 4332708"/>
              <a:gd name="connsiteY0" fmla="*/ 5994 h 6191693"/>
              <a:gd name="connsiteX1" fmla="*/ 4332708 w 4332708"/>
              <a:gd name="connsiteY1" fmla="*/ 0 h 6191693"/>
              <a:gd name="connsiteX2" fmla="*/ 2378975 w 4332708"/>
              <a:gd name="connsiteY2" fmla="*/ 6191693 h 6191693"/>
              <a:gd name="connsiteX3" fmla="*/ 2367 w 4332708"/>
              <a:gd name="connsiteY3" fmla="*/ 6093945 h 6191693"/>
              <a:gd name="connsiteX4" fmla="*/ 0 w 4332708"/>
              <a:gd name="connsiteY4" fmla="*/ 5994 h 6191693"/>
              <a:gd name="connsiteX0" fmla="*/ 0 w 4332708"/>
              <a:gd name="connsiteY0" fmla="*/ 5994 h 6242801"/>
              <a:gd name="connsiteX1" fmla="*/ 4332708 w 4332708"/>
              <a:gd name="connsiteY1" fmla="*/ 0 h 6242801"/>
              <a:gd name="connsiteX2" fmla="*/ 2378975 w 4332708"/>
              <a:gd name="connsiteY2" fmla="*/ 6191693 h 6242801"/>
              <a:gd name="connsiteX3" fmla="*/ 13000 w 4332708"/>
              <a:gd name="connsiteY3" fmla="*/ 6242801 h 6242801"/>
              <a:gd name="connsiteX4" fmla="*/ 0 w 4332708"/>
              <a:gd name="connsiteY4" fmla="*/ 5994 h 6242801"/>
              <a:gd name="connsiteX0" fmla="*/ 25497 w 4358205"/>
              <a:gd name="connsiteY0" fmla="*/ 5994 h 6242801"/>
              <a:gd name="connsiteX1" fmla="*/ 4358205 w 4358205"/>
              <a:gd name="connsiteY1" fmla="*/ 0 h 6242801"/>
              <a:gd name="connsiteX2" fmla="*/ 2404472 w 4358205"/>
              <a:gd name="connsiteY2" fmla="*/ 6191693 h 6242801"/>
              <a:gd name="connsiteX3" fmla="*/ 397 w 4358205"/>
              <a:gd name="connsiteY3" fmla="*/ 6242801 h 6242801"/>
              <a:gd name="connsiteX4" fmla="*/ 25497 w 4358205"/>
              <a:gd name="connsiteY4" fmla="*/ 5994 h 6242801"/>
              <a:gd name="connsiteX0" fmla="*/ 19231 w 4351939"/>
              <a:gd name="connsiteY0" fmla="*/ 5994 h 6242801"/>
              <a:gd name="connsiteX1" fmla="*/ 4351939 w 4351939"/>
              <a:gd name="connsiteY1" fmla="*/ 0 h 6242801"/>
              <a:gd name="connsiteX2" fmla="*/ 2398206 w 4351939"/>
              <a:gd name="connsiteY2" fmla="*/ 6191693 h 6242801"/>
              <a:gd name="connsiteX3" fmla="*/ 481 w 4351939"/>
              <a:gd name="connsiteY3" fmla="*/ 6242801 h 6242801"/>
              <a:gd name="connsiteX4" fmla="*/ 19231 w 4351939"/>
              <a:gd name="connsiteY4" fmla="*/ 5994 h 6242801"/>
              <a:gd name="connsiteX0" fmla="*/ 6880 w 4339588"/>
              <a:gd name="connsiteY0" fmla="*/ 5994 h 6230101"/>
              <a:gd name="connsiteX1" fmla="*/ 4339588 w 4339588"/>
              <a:gd name="connsiteY1" fmla="*/ 0 h 6230101"/>
              <a:gd name="connsiteX2" fmla="*/ 2385855 w 4339588"/>
              <a:gd name="connsiteY2" fmla="*/ 6191693 h 6230101"/>
              <a:gd name="connsiteX3" fmla="*/ 830 w 4339588"/>
              <a:gd name="connsiteY3" fmla="*/ 6230101 h 6230101"/>
              <a:gd name="connsiteX4" fmla="*/ 6880 w 4339588"/>
              <a:gd name="connsiteY4" fmla="*/ 5994 h 6230101"/>
              <a:gd name="connsiteX0" fmla="*/ 1011 w 4333719"/>
              <a:gd name="connsiteY0" fmla="*/ 5994 h 6230101"/>
              <a:gd name="connsiteX1" fmla="*/ 4333719 w 4333719"/>
              <a:gd name="connsiteY1" fmla="*/ 0 h 6230101"/>
              <a:gd name="connsiteX2" fmla="*/ 2379986 w 4333719"/>
              <a:gd name="connsiteY2" fmla="*/ 6191693 h 6230101"/>
              <a:gd name="connsiteX3" fmla="*/ 1311 w 4333719"/>
              <a:gd name="connsiteY3" fmla="*/ 6230101 h 6230101"/>
              <a:gd name="connsiteX4" fmla="*/ 1011 w 4333719"/>
              <a:gd name="connsiteY4" fmla="*/ 5994 h 6230101"/>
              <a:gd name="connsiteX0" fmla="*/ 1011 w 4333719"/>
              <a:gd name="connsiteY0" fmla="*/ 5994 h 6414114"/>
              <a:gd name="connsiteX1" fmla="*/ 4333719 w 4333719"/>
              <a:gd name="connsiteY1" fmla="*/ 0 h 6414114"/>
              <a:gd name="connsiteX2" fmla="*/ 2314083 w 4333719"/>
              <a:gd name="connsiteY2" fmla="*/ 6414114 h 6414114"/>
              <a:gd name="connsiteX3" fmla="*/ 1311 w 4333719"/>
              <a:gd name="connsiteY3" fmla="*/ 6230101 h 6414114"/>
              <a:gd name="connsiteX4" fmla="*/ 1011 w 4333719"/>
              <a:gd name="connsiteY4" fmla="*/ 5994 h 6414114"/>
              <a:gd name="connsiteX0" fmla="*/ 28896 w 4361604"/>
              <a:gd name="connsiteY0" fmla="*/ 5994 h 6414114"/>
              <a:gd name="connsiteX1" fmla="*/ 4361604 w 4361604"/>
              <a:gd name="connsiteY1" fmla="*/ 0 h 6414114"/>
              <a:gd name="connsiteX2" fmla="*/ 2341968 w 4361604"/>
              <a:gd name="connsiteY2" fmla="*/ 6414114 h 6414114"/>
              <a:gd name="connsiteX3" fmla="*/ 363 w 4361604"/>
              <a:gd name="connsiteY3" fmla="*/ 6304241 h 6414114"/>
              <a:gd name="connsiteX4" fmla="*/ 28896 w 4361604"/>
              <a:gd name="connsiteY4" fmla="*/ 5994 h 6414114"/>
              <a:gd name="connsiteX0" fmla="*/ 28896 w 4361604"/>
              <a:gd name="connsiteY0" fmla="*/ 5994 h 6406022"/>
              <a:gd name="connsiteX1" fmla="*/ 4361604 w 4361604"/>
              <a:gd name="connsiteY1" fmla="*/ 0 h 6406022"/>
              <a:gd name="connsiteX2" fmla="*/ 2285324 w 4361604"/>
              <a:gd name="connsiteY2" fmla="*/ 6406022 h 6406022"/>
              <a:gd name="connsiteX3" fmla="*/ 363 w 4361604"/>
              <a:gd name="connsiteY3" fmla="*/ 6304241 h 6406022"/>
              <a:gd name="connsiteX4" fmla="*/ 28896 w 4361604"/>
              <a:gd name="connsiteY4" fmla="*/ 5994 h 6406022"/>
              <a:gd name="connsiteX0" fmla="*/ 28896 w 4361604"/>
              <a:gd name="connsiteY0" fmla="*/ 5994 h 6454574"/>
              <a:gd name="connsiteX1" fmla="*/ 4361604 w 4361604"/>
              <a:gd name="connsiteY1" fmla="*/ 0 h 6454574"/>
              <a:gd name="connsiteX2" fmla="*/ 2301508 w 4361604"/>
              <a:gd name="connsiteY2" fmla="*/ 6454574 h 6454574"/>
              <a:gd name="connsiteX3" fmla="*/ 363 w 4361604"/>
              <a:gd name="connsiteY3" fmla="*/ 6304241 h 6454574"/>
              <a:gd name="connsiteX4" fmla="*/ 28896 w 4361604"/>
              <a:gd name="connsiteY4" fmla="*/ 5994 h 6454574"/>
              <a:gd name="connsiteX0" fmla="*/ 28896 w 4290166"/>
              <a:gd name="connsiteY0" fmla="*/ 0 h 6448580"/>
              <a:gd name="connsiteX1" fmla="*/ 4290166 w 4290166"/>
              <a:gd name="connsiteY1" fmla="*/ 201175 h 6448580"/>
              <a:gd name="connsiteX2" fmla="*/ 2301508 w 4290166"/>
              <a:gd name="connsiteY2" fmla="*/ 6448580 h 6448580"/>
              <a:gd name="connsiteX3" fmla="*/ 363 w 4290166"/>
              <a:gd name="connsiteY3" fmla="*/ 6298247 h 6448580"/>
              <a:gd name="connsiteX4" fmla="*/ 28896 w 4290166"/>
              <a:gd name="connsiteY4" fmla="*/ 0 h 6448580"/>
              <a:gd name="connsiteX0" fmla="*/ 28896 w 4290166"/>
              <a:gd name="connsiteY0" fmla="*/ 0 h 6277130"/>
              <a:gd name="connsiteX1" fmla="*/ 4290166 w 4290166"/>
              <a:gd name="connsiteY1" fmla="*/ 29725 h 6277130"/>
              <a:gd name="connsiteX2" fmla="*/ 2301508 w 4290166"/>
              <a:gd name="connsiteY2" fmla="*/ 6277130 h 6277130"/>
              <a:gd name="connsiteX3" fmla="*/ 363 w 4290166"/>
              <a:gd name="connsiteY3" fmla="*/ 6126797 h 6277130"/>
              <a:gd name="connsiteX4" fmla="*/ 28896 w 4290166"/>
              <a:gd name="connsiteY4" fmla="*/ 0 h 6277130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2313738 w 6603541"/>
              <a:gd name="connsiteY3" fmla="*/ 6140865 h 6291198"/>
              <a:gd name="connsiteX4" fmla="*/ 0 w 6603541"/>
              <a:gd name="connsiteY4" fmla="*/ 0 h 6291198"/>
              <a:gd name="connsiteX0" fmla="*/ 0 w 6603541"/>
              <a:gd name="connsiteY0" fmla="*/ 0 h 6291198"/>
              <a:gd name="connsiteX1" fmla="*/ 6603541 w 6603541"/>
              <a:gd name="connsiteY1" fmla="*/ 43793 h 6291198"/>
              <a:gd name="connsiteX2" fmla="*/ 4614883 w 6603541"/>
              <a:gd name="connsiteY2" fmla="*/ 6291198 h 6291198"/>
              <a:gd name="connsiteX3" fmla="*/ 323160 w 6603541"/>
              <a:gd name="connsiteY3" fmla="*/ 6183069 h 6291198"/>
              <a:gd name="connsiteX4" fmla="*/ 0 w 6603541"/>
              <a:gd name="connsiteY4" fmla="*/ 0 h 6291198"/>
              <a:gd name="connsiteX0" fmla="*/ 0 w 6294052"/>
              <a:gd name="connsiteY0" fmla="*/ 33579 h 6247405"/>
              <a:gd name="connsiteX1" fmla="*/ 6294052 w 6294052"/>
              <a:gd name="connsiteY1" fmla="*/ 0 h 6247405"/>
              <a:gd name="connsiteX2" fmla="*/ 4305394 w 6294052"/>
              <a:gd name="connsiteY2" fmla="*/ 6247405 h 6247405"/>
              <a:gd name="connsiteX3" fmla="*/ 13671 w 6294052"/>
              <a:gd name="connsiteY3" fmla="*/ 6139276 h 6247405"/>
              <a:gd name="connsiteX4" fmla="*/ 0 w 6294052"/>
              <a:gd name="connsiteY4" fmla="*/ 33579 h 6247405"/>
              <a:gd name="connsiteX0" fmla="*/ 1628 w 6295680"/>
              <a:gd name="connsiteY0" fmla="*/ 33579 h 6247405"/>
              <a:gd name="connsiteX1" fmla="*/ 6295680 w 6295680"/>
              <a:gd name="connsiteY1" fmla="*/ 0 h 6247405"/>
              <a:gd name="connsiteX2" fmla="*/ 4307022 w 6295680"/>
              <a:gd name="connsiteY2" fmla="*/ 6247405 h 6247405"/>
              <a:gd name="connsiteX3" fmla="*/ 1231 w 6295680"/>
              <a:gd name="connsiteY3" fmla="*/ 6139276 h 6247405"/>
              <a:gd name="connsiteX4" fmla="*/ 1628 w 6295680"/>
              <a:gd name="connsiteY4" fmla="*/ 33579 h 6247405"/>
              <a:gd name="connsiteX0" fmla="*/ 1545872 w 6294459"/>
              <a:gd name="connsiteY0" fmla="*/ 14261 h 6247405"/>
              <a:gd name="connsiteX1" fmla="*/ 6294459 w 6294459"/>
              <a:gd name="connsiteY1" fmla="*/ 0 h 6247405"/>
              <a:gd name="connsiteX2" fmla="*/ 4305801 w 6294459"/>
              <a:gd name="connsiteY2" fmla="*/ 6247405 h 6247405"/>
              <a:gd name="connsiteX3" fmla="*/ 10 w 6294459"/>
              <a:gd name="connsiteY3" fmla="*/ 6139276 h 6247405"/>
              <a:gd name="connsiteX4" fmla="*/ 1545872 w 6294459"/>
              <a:gd name="connsiteY4" fmla="*/ 14261 h 6247405"/>
              <a:gd name="connsiteX0" fmla="*/ 1629 w 4750216"/>
              <a:gd name="connsiteY0" fmla="*/ 14261 h 6247405"/>
              <a:gd name="connsiteX1" fmla="*/ 4750216 w 4750216"/>
              <a:gd name="connsiteY1" fmla="*/ 0 h 6247405"/>
              <a:gd name="connsiteX2" fmla="*/ 2761558 w 4750216"/>
              <a:gd name="connsiteY2" fmla="*/ 6247405 h 6247405"/>
              <a:gd name="connsiteX3" fmla="*/ 1232 w 4750216"/>
              <a:gd name="connsiteY3" fmla="*/ 6152155 h 6247405"/>
              <a:gd name="connsiteX4" fmla="*/ 1629 w 4750216"/>
              <a:gd name="connsiteY4" fmla="*/ 14261 h 6247405"/>
              <a:gd name="connsiteX0" fmla="*/ 1629 w 4750216"/>
              <a:gd name="connsiteY0" fmla="*/ 0 h 6258901"/>
              <a:gd name="connsiteX1" fmla="*/ 4750216 w 4750216"/>
              <a:gd name="connsiteY1" fmla="*/ 11496 h 6258901"/>
              <a:gd name="connsiteX2" fmla="*/ 2761558 w 4750216"/>
              <a:gd name="connsiteY2" fmla="*/ 6258901 h 6258901"/>
              <a:gd name="connsiteX3" fmla="*/ 1232 w 4750216"/>
              <a:gd name="connsiteY3" fmla="*/ 6163651 h 6258901"/>
              <a:gd name="connsiteX4" fmla="*/ 1629 w 4750216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12482 w 4761466"/>
              <a:gd name="connsiteY3" fmla="*/ 6163651 h 6258901"/>
              <a:gd name="connsiteX4" fmla="*/ 0 w 4761466"/>
              <a:gd name="connsiteY4" fmla="*/ 0 h 6258901"/>
              <a:gd name="connsiteX0" fmla="*/ 1628 w 4763094"/>
              <a:gd name="connsiteY0" fmla="*/ 0 h 6258901"/>
              <a:gd name="connsiteX1" fmla="*/ 4763094 w 4763094"/>
              <a:gd name="connsiteY1" fmla="*/ 11496 h 6258901"/>
              <a:gd name="connsiteX2" fmla="*/ 2774436 w 4763094"/>
              <a:gd name="connsiteY2" fmla="*/ 6258901 h 6258901"/>
              <a:gd name="connsiteX3" fmla="*/ 1231 w 4763094"/>
              <a:gd name="connsiteY3" fmla="*/ 6176530 h 6258901"/>
              <a:gd name="connsiteX4" fmla="*/ 1628 w 4763094"/>
              <a:gd name="connsiteY4" fmla="*/ 0 h 6258901"/>
              <a:gd name="connsiteX0" fmla="*/ 0 w 4761466"/>
              <a:gd name="connsiteY0" fmla="*/ 0 h 6258901"/>
              <a:gd name="connsiteX1" fmla="*/ 4761466 w 4761466"/>
              <a:gd name="connsiteY1" fmla="*/ 11496 h 6258901"/>
              <a:gd name="connsiteX2" fmla="*/ 2772808 w 4761466"/>
              <a:gd name="connsiteY2" fmla="*/ 6258901 h 6258901"/>
              <a:gd name="connsiteX3" fmla="*/ 546955 w 4761466"/>
              <a:gd name="connsiteY3" fmla="*/ 5738648 h 6258901"/>
              <a:gd name="connsiteX4" fmla="*/ 0 w 4761466"/>
              <a:gd name="connsiteY4" fmla="*/ 0 h 6258901"/>
              <a:gd name="connsiteX0" fmla="*/ 0 w 4761466"/>
              <a:gd name="connsiteY0" fmla="*/ 0 h 6343955"/>
              <a:gd name="connsiteX1" fmla="*/ 4761466 w 4761466"/>
              <a:gd name="connsiteY1" fmla="*/ 11496 h 6343955"/>
              <a:gd name="connsiteX2" fmla="*/ 2772808 w 4761466"/>
              <a:gd name="connsiteY2" fmla="*/ 6258901 h 6343955"/>
              <a:gd name="connsiteX3" fmla="*/ 12481 w 4761466"/>
              <a:gd name="connsiteY3" fmla="*/ 6343955 h 6343955"/>
              <a:gd name="connsiteX4" fmla="*/ 0 w 4761466"/>
              <a:gd name="connsiteY4" fmla="*/ 0 h 6343955"/>
              <a:gd name="connsiteX0" fmla="*/ 7630 w 4769096"/>
              <a:gd name="connsiteY0" fmla="*/ 0 h 6350394"/>
              <a:gd name="connsiteX1" fmla="*/ 4769096 w 4769096"/>
              <a:gd name="connsiteY1" fmla="*/ 11496 h 6350394"/>
              <a:gd name="connsiteX2" fmla="*/ 2780438 w 4769096"/>
              <a:gd name="connsiteY2" fmla="*/ 6258901 h 6350394"/>
              <a:gd name="connsiteX3" fmla="*/ 793 w 4769096"/>
              <a:gd name="connsiteY3" fmla="*/ 6350394 h 6350394"/>
              <a:gd name="connsiteX4" fmla="*/ 7630 w 4769096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780438 w 8904367"/>
              <a:gd name="connsiteY2" fmla="*/ 625890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831316 w 8904367"/>
              <a:gd name="connsiteY2" fmla="*/ 6115600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2521131 w 8904367"/>
              <a:gd name="connsiteY2" fmla="*/ 533767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56253 w 8904367"/>
              <a:gd name="connsiteY2" fmla="*/ 6047361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04367"/>
              <a:gd name="connsiteY0" fmla="*/ 0 h 6350394"/>
              <a:gd name="connsiteX1" fmla="*/ 8904367 w 8904367"/>
              <a:gd name="connsiteY1" fmla="*/ 31968 h 6350394"/>
              <a:gd name="connsiteX2" fmla="*/ 3769900 w 8904367"/>
              <a:gd name="connsiteY2" fmla="*/ 6040537 h 6350394"/>
              <a:gd name="connsiteX3" fmla="*/ 793 w 8904367"/>
              <a:gd name="connsiteY3" fmla="*/ 6350394 h 6350394"/>
              <a:gd name="connsiteX4" fmla="*/ 7630 w 8904367"/>
              <a:gd name="connsiteY4" fmla="*/ 0 h 6350394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69900 w 8972606"/>
              <a:gd name="connsiteY2" fmla="*/ 609728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7630 w 8972606"/>
              <a:gd name="connsiteY0" fmla="*/ 56743 h 6407137"/>
              <a:gd name="connsiteX1" fmla="*/ 8972606 w 8972606"/>
              <a:gd name="connsiteY1" fmla="*/ 0 h 6407137"/>
              <a:gd name="connsiteX2" fmla="*/ 3715309 w 8972606"/>
              <a:gd name="connsiteY2" fmla="*/ 6131400 h 6407137"/>
              <a:gd name="connsiteX3" fmla="*/ 793 w 8972606"/>
              <a:gd name="connsiteY3" fmla="*/ 6407137 h 6407137"/>
              <a:gd name="connsiteX4" fmla="*/ 7630 w 8972606"/>
              <a:gd name="connsiteY4" fmla="*/ 56743 h 6407137"/>
              <a:gd name="connsiteX0" fmla="*/ 0 w 10993801"/>
              <a:gd name="connsiteY0" fmla="*/ 0 h 6478981"/>
              <a:gd name="connsiteX1" fmla="*/ 10993801 w 10993801"/>
              <a:gd name="connsiteY1" fmla="*/ 71844 h 6478981"/>
              <a:gd name="connsiteX2" fmla="*/ 5736504 w 10993801"/>
              <a:gd name="connsiteY2" fmla="*/ 6203244 h 6478981"/>
              <a:gd name="connsiteX3" fmla="*/ 2021988 w 10993801"/>
              <a:gd name="connsiteY3" fmla="*/ 6478981 h 6478981"/>
              <a:gd name="connsiteX4" fmla="*/ 0 w 10993801"/>
              <a:gd name="connsiteY4" fmla="*/ 0 h 6478981"/>
              <a:gd name="connsiteX0" fmla="*/ 0 w 10993801"/>
              <a:gd name="connsiteY0" fmla="*/ 0 h 6493269"/>
              <a:gd name="connsiteX1" fmla="*/ 10993801 w 10993801"/>
              <a:gd name="connsiteY1" fmla="*/ 71844 h 6493269"/>
              <a:gd name="connsiteX2" fmla="*/ 5736504 w 10993801"/>
              <a:gd name="connsiteY2" fmla="*/ 6203244 h 6493269"/>
              <a:gd name="connsiteX3" fmla="*/ 7450 w 10993801"/>
              <a:gd name="connsiteY3" fmla="*/ 6493269 h 6493269"/>
              <a:gd name="connsiteX4" fmla="*/ 0 w 10993801"/>
              <a:gd name="connsiteY4" fmla="*/ 0 h 6493269"/>
              <a:gd name="connsiteX0" fmla="*/ 0 w 10993801"/>
              <a:gd name="connsiteY0" fmla="*/ 0 h 6550419"/>
              <a:gd name="connsiteX1" fmla="*/ 10993801 w 10993801"/>
              <a:gd name="connsiteY1" fmla="*/ 128994 h 6550419"/>
              <a:gd name="connsiteX2" fmla="*/ 5736504 w 10993801"/>
              <a:gd name="connsiteY2" fmla="*/ 6260394 h 6550419"/>
              <a:gd name="connsiteX3" fmla="*/ 7450 w 10993801"/>
              <a:gd name="connsiteY3" fmla="*/ 6550419 h 6550419"/>
              <a:gd name="connsiteX4" fmla="*/ 0 w 10993801"/>
              <a:gd name="connsiteY4" fmla="*/ 0 h 6550419"/>
              <a:gd name="connsiteX0" fmla="*/ 35723 w 11029524"/>
              <a:gd name="connsiteY0" fmla="*/ 0 h 6550419"/>
              <a:gd name="connsiteX1" fmla="*/ 11029524 w 11029524"/>
              <a:gd name="connsiteY1" fmla="*/ 128994 h 6550419"/>
              <a:gd name="connsiteX2" fmla="*/ 5772227 w 11029524"/>
              <a:gd name="connsiteY2" fmla="*/ 6260394 h 6550419"/>
              <a:gd name="connsiteX3" fmla="*/ 310 w 11029524"/>
              <a:gd name="connsiteY3" fmla="*/ 6550419 h 6550419"/>
              <a:gd name="connsiteX4" fmla="*/ 35723 w 11029524"/>
              <a:gd name="connsiteY4" fmla="*/ 0 h 6550419"/>
              <a:gd name="connsiteX0" fmla="*/ 35413 w 11029214"/>
              <a:gd name="connsiteY0" fmla="*/ 0 h 6550419"/>
              <a:gd name="connsiteX1" fmla="*/ 11029214 w 11029214"/>
              <a:gd name="connsiteY1" fmla="*/ 128994 h 6550419"/>
              <a:gd name="connsiteX2" fmla="*/ 5771917 w 11029214"/>
              <a:gd name="connsiteY2" fmla="*/ 6260394 h 6550419"/>
              <a:gd name="connsiteX3" fmla="*/ 0 w 11029214"/>
              <a:gd name="connsiteY3" fmla="*/ 6550419 h 6550419"/>
              <a:gd name="connsiteX4" fmla="*/ 35413 w 11029214"/>
              <a:gd name="connsiteY4" fmla="*/ 0 h 6550419"/>
              <a:gd name="connsiteX0" fmla="*/ 6838 w 11000639"/>
              <a:gd name="connsiteY0" fmla="*/ 0 h 6543275"/>
              <a:gd name="connsiteX1" fmla="*/ 11000639 w 11000639"/>
              <a:gd name="connsiteY1" fmla="*/ 128994 h 6543275"/>
              <a:gd name="connsiteX2" fmla="*/ 5743342 w 11000639"/>
              <a:gd name="connsiteY2" fmla="*/ 6260394 h 6543275"/>
              <a:gd name="connsiteX3" fmla="*/ 0 w 11000639"/>
              <a:gd name="connsiteY3" fmla="*/ 6543275 h 6543275"/>
              <a:gd name="connsiteX4" fmla="*/ 6838 w 11000639"/>
              <a:gd name="connsiteY4" fmla="*/ 0 h 6543275"/>
              <a:gd name="connsiteX0" fmla="*/ 6838 w 11000639"/>
              <a:gd name="connsiteY0" fmla="*/ 0 h 6522618"/>
              <a:gd name="connsiteX1" fmla="*/ 11000639 w 11000639"/>
              <a:gd name="connsiteY1" fmla="*/ 128994 h 6522618"/>
              <a:gd name="connsiteX2" fmla="*/ 5743342 w 11000639"/>
              <a:gd name="connsiteY2" fmla="*/ 6260394 h 6522618"/>
              <a:gd name="connsiteX3" fmla="*/ 0 w 11000639"/>
              <a:gd name="connsiteY3" fmla="*/ 6522618 h 6522618"/>
              <a:gd name="connsiteX4" fmla="*/ 6838 w 11000639"/>
              <a:gd name="connsiteY4" fmla="*/ 0 h 6522618"/>
              <a:gd name="connsiteX0" fmla="*/ 12032 w 11000639"/>
              <a:gd name="connsiteY0" fmla="*/ 0 h 6527799"/>
              <a:gd name="connsiteX1" fmla="*/ 11000639 w 11000639"/>
              <a:gd name="connsiteY1" fmla="*/ 134175 h 6527799"/>
              <a:gd name="connsiteX2" fmla="*/ 5743342 w 11000639"/>
              <a:gd name="connsiteY2" fmla="*/ 6265575 h 6527799"/>
              <a:gd name="connsiteX3" fmla="*/ 0 w 11000639"/>
              <a:gd name="connsiteY3" fmla="*/ 6527799 h 6527799"/>
              <a:gd name="connsiteX4" fmla="*/ 12032 w 11000639"/>
              <a:gd name="connsiteY4" fmla="*/ 0 h 6527799"/>
              <a:gd name="connsiteX0" fmla="*/ 0 w 10988607"/>
              <a:gd name="connsiteY0" fmla="*/ 0 h 6527799"/>
              <a:gd name="connsiteX1" fmla="*/ 10988607 w 10988607"/>
              <a:gd name="connsiteY1" fmla="*/ 134175 h 6527799"/>
              <a:gd name="connsiteX2" fmla="*/ 5731310 w 10988607"/>
              <a:gd name="connsiteY2" fmla="*/ 6265575 h 6527799"/>
              <a:gd name="connsiteX3" fmla="*/ 3551 w 10988607"/>
              <a:gd name="connsiteY3" fmla="*/ 6527799 h 6527799"/>
              <a:gd name="connsiteX4" fmla="*/ 0 w 10988607"/>
              <a:gd name="connsiteY4" fmla="*/ 0 h 652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88607" h="6527799">
                <a:moveTo>
                  <a:pt x="0" y="0"/>
                </a:moveTo>
                <a:lnTo>
                  <a:pt x="10988607" y="134175"/>
                </a:lnTo>
                <a:lnTo>
                  <a:pt x="5731310" y="6265575"/>
                </a:lnTo>
                <a:lnTo>
                  <a:pt x="3551" y="6527799"/>
                </a:lnTo>
                <a:cubicBezTo>
                  <a:pt x="6277" y="4502039"/>
                  <a:pt x="4418" y="203290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0E129115-7369-41AE-9182-85E036D951A8}"/>
              </a:ext>
            </a:extLst>
          </p:cNvPr>
          <p:cNvSpPr txBox="1">
            <a:spLocks/>
          </p:cNvSpPr>
          <p:nvPr/>
        </p:nvSpPr>
        <p:spPr>
          <a:xfrm>
            <a:off x="461373" y="502193"/>
            <a:ext cx="7845053" cy="749247"/>
          </a:xfrm>
          <a:prstGeom prst="rect">
            <a:avLst/>
          </a:prstGeom>
        </p:spPr>
        <p:txBody>
          <a:bodyPr vert="horz" lIns="45720" tIns="0" rIns="4572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pc="300" dirty="0">
                <a:solidFill>
                  <a:srgbClr val="003F72"/>
                </a:solidFill>
                <a:latin typeface="+mn-lt"/>
                <a:cs typeface="Calibri"/>
              </a:rPr>
              <a:t>Accessing IRBNet 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52C5E7A-2B83-4A01-A657-5B4C2991146B}"/>
              </a:ext>
            </a:extLst>
          </p:cNvPr>
          <p:cNvSpPr txBox="1"/>
          <p:nvPr/>
        </p:nvSpPr>
        <p:spPr>
          <a:xfrm>
            <a:off x="404145" y="1253354"/>
            <a:ext cx="6691684" cy="156675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solidFill>
                <a:srgbClr val="193460"/>
              </a:solidFill>
              <a:ea typeface="Yu Mincho" panose="02020400000000000000" pitchFamily="18" charset="-128"/>
              <a:cs typeface="Times New Roman" panose="02020603050405020304" pitchFamily="18" charset="0"/>
            </a:endParaRPr>
          </a:p>
          <a:p>
            <a:endParaRPr lang="en-US">
              <a:solidFill>
                <a:srgbClr val="000000"/>
              </a:solidFill>
              <a:highlight>
                <a:srgbClr val="FFFF00"/>
              </a:highlight>
              <a:ea typeface="Yu Mincho" panose="02020400000000000000" pitchFamily="18" charset="-128"/>
              <a:cs typeface="Times New Roman" panose="02020603050405020304" pitchFamily="18" charset="0"/>
            </a:endParaRPr>
          </a:p>
        </p:txBody>
      </p:sp>
      <p:cxnSp>
        <p:nvCxnSpPr>
          <p:cNvPr id="10" name="Straight Arrow Connector 28">
            <a:extLst>
              <a:ext uri="{FF2B5EF4-FFF2-40B4-BE49-F238E27FC236}">
                <a16:creationId xmlns:a16="http://schemas.microsoft.com/office/drawing/2014/main" id="{9ACD43C5-A73F-410E-8659-C063C1F6C1B2}"/>
              </a:ext>
            </a:extLst>
          </p:cNvPr>
          <p:cNvCxnSpPr>
            <a:cxnSpLocks/>
          </p:cNvCxnSpPr>
          <p:nvPr/>
        </p:nvCxnSpPr>
        <p:spPr>
          <a:xfrm>
            <a:off x="-7036" y="1476343"/>
            <a:ext cx="557003" cy="0"/>
          </a:xfrm>
          <a:prstGeom prst="straightConnector1">
            <a:avLst/>
          </a:prstGeom>
          <a:noFill/>
          <a:ln w="19050" cap="flat" cmpd="sng" algn="ctr">
            <a:solidFill>
              <a:srgbClr val="4472C4"/>
            </a:solidFill>
            <a:prstDash val="solid"/>
            <a:round/>
            <a:tailEnd type="oval" w="med" len="med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76A7E85-8048-40BF-904E-EE53DEE5285A}"/>
              </a:ext>
            </a:extLst>
          </p:cNvPr>
          <p:cNvSpPr txBox="1"/>
          <p:nvPr/>
        </p:nvSpPr>
        <p:spPr>
          <a:xfrm>
            <a:off x="600714" y="1274523"/>
            <a:ext cx="4857977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/>
            <a:r>
              <a:rPr lang="en-US" dirty="0">
                <a:ea typeface="+mn-lt"/>
                <a:cs typeface="+mn-lt"/>
              </a:rPr>
              <a:t>Website address: </a:t>
            </a:r>
            <a:r>
              <a:rPr lang="en-US" u="sng" dirty="0">
                <a:solidFill>
                  <a:schemeClr val="accent1"/>
                </a:solidFill>
                <a:ea typeface="+mn-lt"/>
                <a:cs typeface="+mn-lt"/>
              </a:rPr>
              <a:t>gov.irbnet.org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PIV log-i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n-US" dirty="0">
                <a:ea typeface="+mn-lt"/>
                <a:cs typeface="+mn-lt"/>
              </a:rPr>
              <a:t>Accessible from outside the VA network  </a:t>
            </a:r>
            <a:endParaRPr lang="en-US" dirty="0">
              <a:cs typeface="Calibri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C22C87-98ED-E701-E31B-61CD9436F9A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5000"/>
          </a:blip>
          <a:srcRect l="3892" t="4396" r="3479"/>
          <a:stretch/>
        </p:blipFill>
        <p:spPr>
          <a:xfrm>
            <a:off x="1211399" y="2322022"/>
            <a:ext cx="3918065" cy="31617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268287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VhG23Fd4LGA2BwU1MQPA"/>
</p:tagLst>
</file>

<file path=ppt/theme/theme1.xml><?xml version="1.0" encoding="utf-8"?>
<a:theme xmlns:a="http://schemas.openxmlformats.org/drawingml/2006/main" name="VAIRRS Main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AIRRS Custom 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VAIRRS Custom 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19DC370A04394CAAC96DED1DC9A007" ma:contentTypeVersion="9" ma:contentTypeDescription="Create a new document." ma:contentTypeScope="" ma:versionID="b1dfd7dea68351d81719bad3885152c0">
  <xsd:schema xmlns:xsd="http://www.w3.org/2001/XMLSchema" xmlns:xs="http://www.w3.org/2001/XMLSchema" xmlns:p="http://schemas.microsoft.com/office/2006/metadata/properties" xmlns:ns1="http://schemas.microsoft.com/sharepoint/v3" xmlns:ns2="b3b97a4c-43ac-46e7-9970-904f1e1efc09" xmlns:ns3="77dce447-0566-47ff-8c07-c9b85fda5322" targetNamespace="http://schemas.microsoft.com/office/2006/metadata/properties" ma:root="true" ma:fieldsID="da2c64f9114d0dd818614521c1775716" ns1:_="" ns2:_="" ns3:_="">
    <xsd:import namespace="http://schemas.microsoft.com/sharepoint/v3"/>
    <xsd:import namespace="b3b97a4c-43ac-46e7-9970-904f1e1efc09"/>
    <xsd:import namespace="77dce447-0566-47ff-8c07-c9b85fda53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97a4c-43ac-46e7-9970-904f1e1efc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dce447-0566-47ff-8c07-c9b85fda53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7dce447-0566-47ff-8c07-c9b85fda5322">
      <UserInfo>
        <DisplayName>Titan Alpha VA ORD Team Visitors</DisplayName>
        <AccountId>4</AccountId>
        <AccountType/>
      </UserInfo>
      <UserInfo>
        <DisplayName>Marquis Payne</DisplayName>
        <AccountId>12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E6D993-3879-435F-8167-D80039C099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3b97a4c-43ac-46e7-9970-904f1e1efc09"/>
    <ds:schemaRef ds:uri="77dce447-0566-47ff-8c07-c9b85fda53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CC147DA-14D9-4983-B6CF-EF7536DF17A5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77dce447-0566-47ff-8c07-c9b85fda5322"/>
    <ds:schemaRef ds:uri="b3b97a4c-43ac-46e7-9970-904f1e1efc0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BB57568-D15E-41AD-BD6C-9EC61BAAD0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9</TotalTime>
  <Words>1575</Words>
  <Application>Microsoft Office PowerPoint</Application>
  <PresentationFormat>Widescreen</PresentationFormat>
  <Paragraphs>306</Paragraphs>
  <Slides>49</Slides>
  <Notes>4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1" baseType="lpstr">
      <vt:lpstr>Arial</vt:lpstr>
      <vt:lpstr>Bradley Hand ITC</vt:lpstr>
      <vt:lpstr>Calibri</vt:lpstr>
      <vt:lpstr>Calibri </vt:lpstr>
      <vt:lpstr>Calibri Light</vt:lpstr>
      <vt:lpstr>Open Sans</vt:lpstr>
      <vt:lpstr>Roboto</vt:lpstr>
      <vt:lpstr>Wingdings</vt:lpstr>
      <vt:lpstr>VAIRRS Main Slides</vt:lpstr>
      <vt:lpstr>VAIRRS Custom 1</vt:lpstr>
      <vt:lpstr>VAIRRS Custom 2</vt:lpstr>
      <vt:lpstr>think-cell Slide</vt:lpstr>
      <vt:lpstr>VA Innovation and Research Review System (VAIRRS) </vt:lpstr>
      <vt:lpstr>PowerPoint Presentation</vt:lpstr>
      <vt:lpstr>Contents </vt:lpstr>
      <vt:lpstr>Important Announcements </vt:lpstr>
      <vt:lpstr>IRBNet Basics for Investigators</vt:lpstr>
      <vt:lpstr>IRBNet Basics for Investigators</vt:lpstr>
      <vt:lpstr>PowerPoint Presentation</vt:lpstr>
      <vt:lpstr>IRBNet Basics for Investigators</vt:lpstr>
      <vt:lpstr>PowerPoint Presentation</vt:lpstr>
      <vt:lpstr>Enrolling in IRBNet</vt:lpstr>
      <vt:lpstr>IRBNet Basics for Investigators</vt:lpstr>
      <vt:lpstr>User Profile – Add Affiliations</vt:lpstr>
      <vt:lpstr>User Profile – External Accounts</vt:lpstr>
      <vt:lpstr>User Profile – Training and Credentials</vt:lpstr>
      <vt:lpstr>IRBNet Basics for Investigators</vt:lpstr>
      <vt:lpstr>My Projects</vt:lpstr>
      <vt:lpstr>My Projects – Notifications and Reminders</vt:lpstr>
      <vt:lpstr>My Projects – Search Options</vt:lpstr>
      <vt:lpstr>My Projects – Forms and Templates </vt:lpstr>
      <vt:lpstr>My Projects - Tags</vt:lpstr>
      <vt:lpstr>IRBNet Basics for Investigators</vt:lpstr>
      <vt:lpstr>Projects vs. Packages </vt:lpstr>
      <vt:lpstr>Projects vs. Packages Multi-site Projects </vt:lpstr>
      <vt:lpstr>Projects vs. Packages </vt:lpstr>
      <vt:lpstr>IRBNet Basics for Investigators</vt:lpstr>
      <vt:lpstr>PowerPoint Presentation</vt:lpstr>
      <vt:lpstr>New Project Details </vt:lpstr>
      <vt:lpstr>PowerPoint Presentation</vt:lpstr>
      <vt:lpstr>Designer </vt:lpstr>
      <vt:lpstr>PowerPoint Presentation</vt:lpstr>
      <vt:lpstr>Step 1: Upload Study Documents </vt:lpstr>
      <vt:lpstr>Step 2: Complete Applicable Wizards</vt:lpstr>
      <vt:lpstr>Step 2: Document Upload Complete</vt:lpstr>
      <vt:lpstr>Step 3: Link Training Records </vt:lpstr>
      <vt:lpstr>Step 4: Share Package</vt:lpstr>
      <vt:lpstr>Step 5: Sign Package</vt:lpstr>
      <vt:lpstr>Step 6: Submit Package</vt:lpstr>
      <vt:lpstr>IRBNet Basics for Investigators</vt:lpstr>
      <vt:lpstr>PowerPoint Presentation</vt:lpstr>
      <vt:lpstr>PowerPoint Presentation</vt:lpstr>
      <vt:lpstr>Revising Unlocked Package</vt:lpstr>
      <vt:lpstr>Revising Unlocked Package</vt:lpstr>
      <vt:lpstr>Revising Unlocked Package</vt:lpstr>
      <vt:lpstr>PowerPoint Presentation</vt:lpstr>
      <vt:lpstr>Response Package Documents</vt:lpstr>
      <vt:lpstr>PowerPoint Presentation</vt:lpstr>
      <vt:lpstr>PowerPoint Presentation</vt:lpstr>
      <vt:lpstr>Contacts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RBNet Basics for Investigators</dc:title>
  <dc:subject>IRBNet Basics for Investigators</dc:subject>
  <dc:creator>Bria White</dc:creator>
  <cp:keywords>IRBNet Basics for Investigators</cp:keywords>
  <cp:lastModifiedBy>Rivera, Portia T</cp:lastModifiedBy>
  <cp:revision>29</cp:revision>
  <dcterms:created xsi:type="dcterms:W3CDTF">2021-10-19T21:48:00Z</dcterms:created>
  <dcterms:modified xsi:type="dcterms:W3CDTF">2022-09-26T12:1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19DC370A04394CAAC96DED1DC9A007</vt:lpwstr>
  </property>
  <property fmtid="{D5CDD505-2E9C-101B-9397-08002B2CF9AE}" pid="3" name="_ExtendedDescription">
    <vt:lpwstr/>
  </property>
</Properties>
</file>